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charts/chart5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charts/chart6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5.xml" ContentType="application/vnd.openxmlformats-officedocument.presentationml.notesSlide+xml"/>
  <Override PartName="/ppt/charts/chart7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charts/chart8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7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8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3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4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5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3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4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5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6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20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21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17.xml" ContentType="application/vnd.openxmlformats-officedocument.drawingml.chart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18.xml" ContentType="application/vnd.openxmlformats-officedocument.drawingml.chart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charts/chart19.xml" ContentType="application/vnd.openxmlformats-officedocument.drawingml.chart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charts/chart20.xml" ContentType="application/vnd.openxmlformats-officedocument.drawingml.chart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charts/chart21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charts/chart22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charts/chart23.xml" ContentType="application/vnd.openxmlformats-officedocument.drawingml.chart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charts/chart24.xml" ContentType="application/vnd.openxmlformats-officedocument.drawingml.chart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charts/chart25.xml" ContentType="application/vnd.openxmlformats-officedocument.drawingml.chart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charts/chart26.xml" ContentType="application/vnd.openxmlformats-officedocument.drawingml.chart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charts/chart27.xml" ContentType="application/vnd.openxmlformats-officedocument.drawingml.chart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charts/chart28.xml" ContentType="application/vnd.openxmlformats-officedocument.drawingml.chart+xml"/>
  <Override PartName="/ppt/tags/tag9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1" r:id="rId1"/>
  </p:sldMasterIdLst>
  <p:notesMasterIdLst>
    <p:notesMasterId r:id="rId46"/>
  </p:notesMasterIdLst>
  <p:handoutMasterIdLst>
    <p:handoutMasterId r:id="rId47"/>
  </p:handoutMasterIdLst>
  <p:sldIdLst>
    <p:sldId id="696" r:id="rId2"/>
    <p:sldId id="800" r:id="rId3"/>
    <p:sldId id="818" r:id="rId4"/>
    <p:sldId id="837" r:id="rId5"/>
    <p:sldId id="838" r:id="rId6"/>
    <p:sldId id="839" r:id="rId7"/>
    <p:sldId id="840" r:id="rId8"/>
    <p:sldId id="802" r:id="rId9"/>
    <p:sldId id="801" r:id="rId10"/>
    <p:sldId id="804" r:id="rId11"/>
    <p:sldId id="805" r:id="rId12"/>
    <p:sldId id="806" r:id="rId13"/>
    <p:sldId id="807" r:id="rId14"/>
    <p:sldId id="814" r:id="rId15"/>
    <p:sldId id="808" r:id="rId16"/>
    <p:sldId id="809" r:id="rId17"/>
    <p:sldId id="810" r:id="rId18"/>
    <p:sldId id="811" r:id="rId19"/>
    <p:sldId id="815" r:id="rId20"/>
    <p:sldId id="816" r:id="rId21"/>
    <p:sldId id="841" r:id="rId22"/>
    <p:sldId id="842" r:id="rId23"/>
    <p:sldId id="843" r:id="rId24"/>
    <p:sldId id="844" r:id="rId25"/>
    <p:sldId id="819" r:id="rId26"/>
    <p:sldId id="820" r:id="rId27"/>
    <p:sldId id="831" r:id="rId28"/>
    <p:sldId id="832" r:id="rId29"/>
    <p:sldId id="787" r:id="rId30"/>
    <p:sldId id="825" r:id="rId31"/>
    <p:sldId id="826" r:id="rId32"/>
    <p:sldId id="827" r:id="rId33"/>
    <p:sldId id="828" r:id="rId34"/>
    <p:sldId id="829" r:id="rId35"/>
    <p:sldId id="830" r:id="rId36"/>
    <p:sldId id="821" r:id="rId37"/>
    <p:sldId id="822" r:id="rId38"/>
    <p:sldId id="823" r:id="rId39"/>
    <p:sldId id="824" r:id="rId40"/>
    <p:sldId id="833" r:id="rId41"/>
    <p:sldId id="834" r:id="rId42"/>
    <p:sldId id="835" r:id="rId43"/>
    <p:sldId id="836" r:id="rId44"/>
    <p:sldId id="778" r:id="rId45"/>
  </p:sldIdLst>
  <p:sldSz cx="9144000" cy="5143500" type="screen16x9"/>
  <p:notesSz cx="6858000" cy="9144000"/>
  <p:custDataLst>
    <p:tags r:id="rId48"/>
  </p:custDataLst>
  <p:defaultTextStyle>
    <a:defPPr>
      <a:defRPr lang="zh-CN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宋体" charset="-122"/>
        <a:cs typeface="+mn-cs"/>
      </a:defRPr>
    </a:lvl1pPr>
    <a:lvl2pPr marL="342884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宋体" charset="-122"/>
        <a:cs typeface="+mn-cs"/>
      </a:defRPr>
    </a:lvl2pPr>
    <a:lvl3pPr marL="685766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宋体" charset="-122"/>
        <a:cs typeface="+mn-cs"/>
      </a:defRPr>
    </a:lvl3pPr>
    <a:lvl4pPr marL="1028649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宋体" charset="-122"/>
        <a:cs typeface="+mn-cs"/>
      </a:defRPr>
    </a:lvl4pPr>
    <a:lvl5pPr marL="1371532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宋体" charset="-122"/>
        <a:cs typeface="+mn-cs"/>
      </a:defRPr>
    </a:lvl5pPr>
    <a:lvl6pPr marL="1714415" algn="l" defTabSz="685766" rtl="0" eaLnBrk="1" latinLnBrk="0" hangingPunct="1">
      <a:defRPr kern="1200">
        <a:solidFill>
          <a:schemeClr val="tx1"/>
        </a:solidFill>
        <a:latin typeface="Verdana" pitchFamily="34" charset="0"/>
        <a:ea typeface="宋体" charset="-122"/>
        <a:cs typeface="+mn-cs"/>
      </a:defRPr>
    </a:lvl6pPr>
    <a:lvl7pPr marL="2057297" algn="l" defTabSz="685766" rtl="0" eaLnBrk="1" latinLnBrk="0" hangingPunct="1">
      <a:defRPr kern="1200">
        <a:solidFill>
          <a:schemeClr val="tx1"/>
        </a:solidFill>
        <a:latin typeface="Verdana" pitchFamily="34" charset="0"/>
        <a:ea typeface="宋体" charset="-122"/>
        <a:cs typeface="+mn-cs"/>
      </a:defRPr>
    </a:lvl7pPr>
    <a:lvl8pPr marL="2400180" algn="l" defTabSz="685766" rtl="0" eaLnBrk="1" latinLnBrk="0" hangingPunct="1">
      <a:defRPr kern="1200">
        <a:solidFill>
          <a:schemeClr val="tx1"/>
        </a:solidFill>
        <a:latin typeface="Verdana" pitchFamily="34" charset="0"/>
        <a:ea typeface="宋体" charset="-122"/>
        <a:cs typeface="+mn-cs"/>
      </a:defRPr>
    </a:lvl8pPr>
    <a:lvl9pPr marL="2743064" algn="l" defTabSz="685766" rtl="0" eaLnBrk="1" latinLnBrk="0" hangingPunct="1">
      <a:defRPr kern="1200">
        <a:solidFill>
          <a:schemeClr val="tx1"/>
        </a:solidFill>
        <a:latin typeface="Verdana" pitchFamily="34" charset="0"/>
        <a:ea typeface="宋体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3545" userDrawn="1">
          <p15:clr>
            <a:srgbClr val="A4A3A4"/>
          </p15:clr>
        </p15:guide>
        <p15:guide id="3" orient="horz" pos="324" userDrawn="1">
          <p15:clr>
            <a:srgbClr val="A4A3A4"/>
          </p15:clr>
        </p15:guide>
        <p15:guide id="4" pos="6972" userDrawn="1">
          <p15:clr>
            <a:srgbClr val="A4A3A4"/>
          </p15:clr>
        </p15:guide>
        <p15:guide id="5" pos="2880" userDrawn="1">
          <p15:clr>
            <a:srgbClr val="A4A3A4"/>
          </p15:clr>
        </p15:guide>
        <p15:guide id="6" pos="566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BEEC9"/>
    <a:srgbClr val="FFC42F"/>
    <a:srgbClr val="F0A22E"/>
    <a:srgbClr val="C3986D"/>
    <a:srgbClr val="A5644E"/>
    <a:srgbClr val="F8C390"/>
    <a:srgbClr val="CDABA4"/>
    <a:srgbClr val="EFDDC1"/>
    <a:srgbClr val="E9CEA7"/>
    <a:srgbClr val="DCB27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主题样式 1 - 强调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主题样式 1 - 强调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80" autoAdjust="0"/>
    <p:restoredTop sz="90892" autoAdjust="0"/>
  </p:normalViewPr>
  <p:slideViewPr>
    <p:cSldViewPr>
      <p:cViewPr varScale="1">
        <p:scale>
          <a:sx n="86" d="100"/>
          <a:sy n="86" d="100"/>
        </p:scale>
        <p:origin x="876" y="84"/>
      </p:cViewPr>
      <p:guideLst>
        <p:guide orient="horz" pos="1620"/>
        <p:guide pos="3545"/>
        <p:guide orient="horz" pos="324"/>
        <p:guide pos="6972"/>
        <p:guide pos="2880"/>
        <p:guide pos="5664"/>
      </p:guideLst>
    </p:cSldViewPr>
  </p:slideViewPr>
  <p:outlineViewPr>
    <p:cViewPr>
      <p:scale>
        <a:sx n="33" d="100"/>
        <a:sy n="33" d="100"/>
      </p:scale>
      <p:origin x="246" y="4866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handoutMaster" Target="handoutMasters/handoutMaster1.xml"/><Relationship Id="rId50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tags" Target="tags/tag1.xml"/><Relationship Id="rId8" Type="http://schemas.openxmlformats.org/officeDocument/2006/relationships/slide" Target="slides/slide7.xml"/><Relationship Id="rId51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0.xlsx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4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7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8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5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6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7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alue(Mn)</c:v>
                </c:pt>
              </c:strCache>
            </c:strRef>
          </c:tx>
          <c:spPr>
            <a:solidFill>
              <a:schemeClr val="bg2">
                <a:lumMod val="90000"/>
              </a:schemeClr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15M04
MAT</c:v>
                </c:pt>
                <c:pt idx="1">
                  <c:v>16M04
MAT</c:v>
                </c:pt>
                <c:pt idx="2">
                  <c:v>17M04
MAT</c:v>
                </c:pt>
                <c:pt idx="3">
                  <c:v>18M04
MAT</c:v>
                </c:pt>
                <c:pt idx="4">
                  <c:v>19M04
MAT</c:v>
                </c:pt>
              </c:strCache>
            </c:strRef>
          </c:cat>
          <c:val>
            <c:numRef>
              <c:f>Sheet1!$B$2:$B$6</c:f>
              <c:numCache>
                <c:formatCode>_ * #,##0_ ;_ * \-#,##0_ ;_ * "-"??_ ;_ @_ </c:formatCode>
                <c:ptCount val="5"/>
                <c:pt idx="0">
                  <c:v>12451</c:v>
                </c:pt>
                <c:pt idx="1">
                  <c:v>15288</c:v>
                </c:pt>
                <c:pt idx="2">
                  <c:v>17749</c:v>
                </c:pt>
                <c:pt idx="3">
                  <c:v>15288</c:v>
                </c:pt>
                <c:pt idx="4">
                  <c:v>177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1F2-4878-9706-C7498174C9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284965960"/>
        <c:axId val="28495851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%</c:v>
                </c:pt>
              </c:strCache>
            </c:strRef>
          </c:tx>
          <c:spPr>
            <a:ln w="19050" cap="flat" cmpd="sng" algn="ctr">
              <a:solidFill>
                <a:schemeClr val="accent2"/>
              </a:solidFill>
              <a:prstDash val="solid"/>
              <a:miter lim="800000"/>
            </a:ln>
            <a:effectLst/>
          </c:spPr>
          <c:marker>
            <c:symbol val="circle"/>
            <c:size val="4"/>
            <c:spPr>
              <a:ln w="19050">
                <a:solidFill>
                  <a:schemeClr val="accent2"/>
                </a:solidFill>
                <a:prstDash val="solid"/>
              </a:ln>
            </c:spPr>
          </c:marker>
          <c:cat>
            <c:strRef>
              <c:f>Sheet1!$A$2:$A$6</c:f>
              <c:strCache>
                <c:ptCount val="5"/>
                <c:pt idx="0">
                  <c:v>15M04
MAT</c:v>
                </c:pt>
                <c:pt idx="1">
                  <c:v>16M04
MAT</c:v>
                </c:pt>
                <c:pt idx="2">
                  <c:v>17M04
MAT</c:v>
                </c:pt>
                <c:pt idx="3">
                  <c:v>18M04
MAT</c:v>
                </c:pt>
                <c:pt idx="4">
                  <c:v>19M04
MAT</c:v>
                </c:pt>
              </c:strCache>
            </c:strRef>
          </c:cat>
          <c:val>
            <c:numRef>
              <c:f>Sheet1!$C$2:$C$6</c:f>
              <c:numCache>
                <c:formatCode>0%</c:formatCode>
                <c:ptCount val="5"/>
                <c:pt idx="1">
                  <c:v>0.22785318448317393</c:v>
                </c:pt>
                <c:pt idx="2">
                  <c:v>0.16097592883307166</c:v>
                </c:pt>
                <c:pt idx="3">
                  <c:v>-0.13865569891261476</c:v>
                </c:pt>
                <c:pt idx="4">
                  <c:v>0.160975928833071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1F2-4878-9706-C7498174C9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5936288"/>
        <c:axId val="415935504"/>
      </c:lineChart>
      <c:catAx>
        <c:axId val="2849659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284958512"/>
        <c:crosses val="autoZero"/>
        <c:auto val="1"/>
        <c:lblAlgn val="ctr"/>
        <c:lblOffset val="100"/>
        <c:noMultiLvlLbl val="0"/>
      </c:catAx>
      <c:valAx>
        <c:axId val="284958512"/>
        <c:scaling>
          <c:orientation val="minMax"/>
        </c:scaling>
        <c:delete val="0"/>
        <c:axPos val="l"/>
        <c:numFmt formatCode="#,##0_);[Red]\(#,##0\)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284965960"/>
        <c:crosses val="autoZero"/>
        <c:crossBetween val="between"/>
      </c:valAx>
      <c:valAx>
        <c:axId val="415935504"/>
        <c:scaling>
          <c:orientation val="minMax"/>
        </c:scaling>
        <c:delete val="0"/>
        <c:axPos val="r"/>
        <c:numFmt formatCode="0%" sourceLinked="0"/>
        <c:majorTickMark val="out"/>
        <c:minorTickMark val="none"/>
        <c:tickLblPos val="nextTo"/>
        <c:spPr>
          <a:ln>
            <a:noFill/>
          </a:ln>
        </c:spPr>
        <c:crossAx val="415936288"/>
        <c:crosses val="max"/>
        <c:crossBetween val="between"/>
      </c:valAx>
      <c:catAx>
        <c:axId val="4159362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15935504"/>
        <c:crosses val="autoZero"/>
        <c:auto val="1"/>
        <c:lblAlgn val="ctr"/>
        <c:lblOffset val="100"/>
        <c:noMultiLvlLbl val="0"/>
      </c:cat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vert="horz"/>
          <a:lstStyle/>
          <a:p>
            <a:pPr rtl="0">
              <a:defRPr sz="700"/>
            </a:pPr>
            <a:endParaRPr lang="zh-CN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tx1"/>
          </a:solidFill>
          <a:latin typeface="+mn-lt"/>
        </a:defRPr>
      </a:pPr>
      <a:endParaRPr lang="zh-CN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788451443569554"/>
          <c:y val="2.5095208687149397E-2"/>
          <c:w val="0.85096253877356232"/>
          <c:h val="0.45496423241212502"/>
        </c:manualLayout>
      </c:layout>
      <c:lineChart>
        <c:grouping val="standard"/>
        <c:varyColors val="0"/>
        <c:ser>
          <c:idx val="2"/>
          <c:order val="0"/>
          <c:tx>
            <c:strRef>
              <c:f>Sheet1!$A$2</c:f>
              <c:strCache>
                <c:ptCount val="1"/>
                <c:pt idx="0">
                  <c:v>Molecule 1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3"/>
              </a:solidFill>
              <a:ln w="19050">
                <a:solidFill>
                  <a:schemeClr val="accent3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2:$Y$2</c:f>
              <c:numCache>
                <c:formatCode>0.0</c:formatCode>
                <c:ptCount val="24"/>
                <c:pt idx="0">
                  <c:v>3.3681058007858571</c:v>
                </c:pt>
                <c:pt idx="1">
                  <c:v>3.2782880060910631</c:v>
                </c:pt>
                <c:pt idx="2">
                  <c:v>3.0476069483245198</c:v>
                </c:pt>
                <c:pt idx="3">
                  <c:v>3.034920851669034</c:v>
                </c:pt>
                <c:pt idx="4">
                  <c:v>3.0952222840328991</c:v>
                </c:pt>
                <c:pt idx="5">
                  <c:v>2.8050884580374649</c:v>
                </c:pt>
                <c:pt idx="6">
                  <c:v>3.1006053322974361</c:v>
                </c:pt>
                <c:pt idx="7">
                  <c:v>3.1296643227389591</c:v>
                </c:pt>
                <c:pt idx="8">
                  <c:v>3.1959529893929441</c:v>
                </c:pt>
                <c:pt idx="9">
                  <c:v>3.3524564315141832</c:v>
                </c:pt>
                <c:pt idx="10">
                  <c:v>3.4602927129878531</c:v>
                </c:pt>
                <c:pt idx="11">
                  <c:v>3.0553898735851108</c:v>
                </c:pt>
                <c:pt idx="12">
                  <c:v>3.3681058007858571</c:v>
                </c:pt>
                <c:pt idx="13">
                  <c:v>3.2782880060910631</c:v>
                </c:pt>
                <c:pt idx="14">
                  <c:v>3.0476069483245198</c:v>
                </c:pt>
                <c:pt idx="15">
                  <c:v>3.034920851669034</c:v>
                </c:pt>
                <c:pt idx="16">
                  <c:v>3.0952222840328991</c:v>
                </c:pt>
                <c:pt idx="17">
                  <c:v>2.8050884580374649</c:v>
                </c:pt>
                <c:pt idx="18">
                  <c:v>3.1006053322974361</c:v>
                </c:pt>
                <c:pt idx="19">
                  <c:v>3.1296643227389591</c:v>
                </c:pt>
                <c:pt idx="20">
                  <c:v>3.1959529893929441</c:v>
                </c:pt>
                <c:pt idx="21">
                  <c:v>3.3524564315141832</c:v>
                </c:pt>
                <c:pt idx="22">
                  <c:v>3.4602927129878531</c:v>
                </c:pt>
                <c:pt idx="23">
                  <c:v>3.05538987358511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FEF-45A3-AF7E-81F03622E30C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Molecule 2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2"/>
              </a:solidFill>
              <a:ln w="19050">
                <a:solidFill>
                  <a:schemeClr val="accent2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3:$Y$3</c:f>
              <c:numCache>
                <c:formatCode>0.0</c:formatCode>
                <c:ptCount val="24"/>
                <c:pt idx="0">
                  <c:v>3.2278446708946031</c:v>
                </c:pt>
                <c:pt idx="1">
                  <c:v>3.581541968447727</c:v>
                </c:pt>
                <c:pt idx="2">
                  <c:v>3.0216540314169409</c:v>
                </c:pt>
                <c:pt idx="3">
                  <c:v>3.1342779528827709</c:v>
                </c:pt>
                <c:pt idx="4">
                  <c:v>3.116866452702924</c:v>
                </c:pt>
                <c:pt idx="5">
                  <c:v>2.9115436553497069</c:v>
                </c:pt>
                <c:pt idx="6">
                  <c:v>3.1867767979014721</c:v>
                </c:pt>
                <c:pt idx="7">
                  <c:v>3.2893579411293952</c:v>
                </c:pt>
                <c:pt idx="8">
                  <c:v>3.0248394835742101</c:v>
                </c:pt>
                <c:pt idx="9">
                  <c:v>3.2530527033936179</c:v>
                </c:pt>
                <c:pt idx="10">
                  <c:v>3.100479853064825</c:v>
                </c:pt>
                <c:pt idx="11">
                  <c:v>2.9323136900097819</c:v>
                </c:pt>
                <c:pt idx="12">
                  <c:v>3.2278446708946031</c:v>
                </c:pt>
                <c:pt idx="13">
                  <c:v>3.581541968447727</c:v>
                </c:pt>
                <c:pt idx="14">
                  <c:v>3.0216540314169409</c:v>
                </c:pt>
                <c:pt idx="15">
                  <c:v>3.1342779528827709</c:v>
                </c:pt>
                <c:pt idx="16">
                  <c:v>3.116866452702924</c:v>
                </c:pt>
                <c:pt idx="17">
                  <c:v>2.9115436553497069</c:v>
                </c:pt>
                <c:pt idx="18">
                  <c:v>3.1867767979014721</c:v>
                </c:pt>
                <c:pt idx="19">
                  <c:v>3.2893579411293952</c:v>
                </c:pt>
                <c:pt idx="20">
                  <c:v>3.0248394835742101</c:v>
                </c:pt>
                <c:pt idx="21">
                  <c:v>3.2530527033936179</c:v>
                </c:pt>
                <c:pt idx="22">
                  <c:v>3.100479853064825</c:v>
                </c:pt>
                <c:pt idx="23">
                  <c:v>2.93231369000978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FEF-45A3-AF7E-81F03622E30C}"/>
            </c:ext>
          </c:extLst>
        </c:ser>
        <c:ser>
          <c:idx val="0"/>
          <c:order val="2"/>
          <c:tx>
            <c:strRef>
              <c:f>Sheet1!$A$4</c:f>
              <c:strCache>
                <c:ptCount val="1"/>
                <c:pt idx="0">
                  <c:v>Molecule 3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1"/>
              </a:solidFill>
              <a:ln w="19050">
                <a:solidFill>
                  <a:schemeClr val="accent1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4:$Y$4</c:f>
              <c:numCache>
                <c:formatCode>0.0</c:formatCode>
                <c:ptCount val="24"/>
                <c:pt idx="0">
                  <c:v>1.7847804821175759</c:v>
                </c:pt>
                <c:pt idx="1">
                  <c:v>2.111888947394597</c:v>
                </c:pt>
                <c:pt idx="2">
                  <c:v>1.8388360641427799</c:v>
                </c:pt>
                <c:pt idx="3">
                  <c:v>1.809342480422363</c:v>
                </c:pt>
                <c:pt idx="4">
                  <c:v>1.8850965404279609</c:v>
                </c:pt>
                <c:pt idx="5">
                  <c:v>2.0439093432783011</c:v>
                </c:pt>
                <c:pt idx="6">
                  <c:v>2.0032790270958349</c:v>
                </c:pt>
                <c:pt idx="7">
                  <c:v>2.0617290270597861</c:v>
                </c:pt>
                <c:pt idx="8">
                  <c:v>2.079172443826466</c:v>
                </c:pt>
                <c:pt idx="9">
                  <c:v>2.002013322367743</c:v>
                </c:pt>
                <c:pt idx="10">
                  <c:v>2.0468691250946942</c:v>
                </c:pt>
                <c:pt idx="11">
                  <c:v>2.0618215774310511</c:v>
                </c:pt>
                <c:pt idx="12">
                  <c:v>1.7847804821175759</c:v>
                </c:pt>
                <c:pt idx="13">
                  <c:v>2.111888947394597</c:v>
                </c:pt>
                <c:pt idx="14">
                  <c:v>1.8388360641427799</c:v>
                </c:pt>
                <c:pt idx="15">
                  <c:v>1.809342480422363</c:v>
                </c:pt>
                <c:pt idx="16">
                  <c:v>1.8850965404279609</c:v>
                </c:pt>
                <c:pt idx="17">
                  <c:v>2.0439093432783011</c:v>
                </c:pt>
                <c:pt idx="18">
                  <c:v>2.0032790270958349</c:v>
                </c:pt>
                <c:pt idx="19">
                  <c:v>2.0617290270597861</c:v>
                </c:pt>
                <c:pt idx="20">
                  <c:v>2.079172443826466</c:v>
                </c:pt>
                <c:pt idx="21">
                  <c:v>2.002013322367743</c:v>
                </c:pt>
                <c:pt idx="22">
                  <c:v>2.0468691250946942</c:v>
                </c:pt>
                <c:pt idx="23">
                  <c:v>2.06182157743105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FEF-45A3-AF7E-81F03622E30C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Molecule 4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4"/>
              </a:solidFill>
              <a:ln w="19050">
                <a:solidFill>
                  <a:schemeClr val="accent4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5:$Y$5</c:f>
              <c:numCache>
                <c:formatCode>0.0</c:formatCode>
                <c:ptCount val="24"/>
                <c:pt idx="0">
                  <c:v>1.802197443720859</c:v>
                </c:pt>
                <c:pt idx="1">
                  <c:v>1.926909210732898</c:v>
                </c:pt>
                <c:pt idx="2">
                  <c:v>1.833435665235206</c:v>
                </c:pt>
                <c:pt idx="3">
                  <c:v>1.7826641410930999</c:v>
                </c:pt>
                <c:pt idx="4">
                  <c:v>1.792287523144823</c:v>
                </c:pt>
                <c:pt idx="5">
                  <c:v>1.858171085322661</c:v>
                </c:pt>
                <c:pt idx="6">
                  <c:v>1.7892468639945069</c:v>
                </c:pt>
                <c:pt idx="7">
                  <c:v>1.8455177351331831</c:v>
                </c:pt>
                <c:pt idx="8">
                  <c:v>1.904295498999236</c:v>
                </c:pt>
                <c:pt idx="9">
                  <c:v>1.8534564913513181</c:v>
                </c:pt>
                <c:pt idx="10">
                  <c:v>1.8991475039855359</c:v>
                </c:pt>
                <c:pt idx="11">
                  <c:v>1.86854845571558</c:v>
                </c:pt>
                <c:pt idx="12">
                  <c:v>1.802197443720859</c:v>
                </c:pt>
                <c:pt idx="13">
                  <c:v>1.926909210732898</c:v>
                </c:pt>
                <c:pt idx="14">
                  <c:v>1.833435665235206</c:v>
                </c:pt>
                <c:pt idx="15">
                  <c:v>1.7826641410930999</c:v>
                </c:pt>
                <c:pt idx="16">
                  <c:v>1.792287523144823</c:v>
                </c:pt>
                <c:pt idx="17">
                  <c:v>1.858171085322661</c:v>
                </c:pt>
                <c:pt idx="18">
                  <c:v>1.7892468639945069</c:v>
                </c:pt>
                <c:pt idx="19">
                  <c:v>1.8455177351331831</c:v>
                </c:pt>
                <c:pt idx="20">
                  <c:v>1.904295498999236</c:v>
                </c:pt>
                <c:pt idx="21">
                  <c:v>1.8534564913513181</c:v>
                </c:pt>
                <c:pt idx="22">
                  <c:v>1.8991475039855359</c:v>
                </c:pt>
                <c:pt idx="23">
                  <c:v>1.868548455715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FEF-45A3-AF7E-81F03622E30C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Molecule 5</c:v>
                </c:pt>
              </c:strCache>
            </c:strRef>
          </c:tx>
          <c:spPr>
            <a:ln w="19050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5"/>
              </a:solidFill>
              <a:ln w="19050">
                <a:solidFill>
                  <a:schemeClr val="accent5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6:$Y$6</c:f>
              <c:numCache>
                <c:formatCode>0.0</c:formatCode>
                <c:ptCount val="24"/>
                <c:pt idx="0">
                  <c:v>1.8143248697661101</c:v>
                </c:pt>
                <c:pt idx="1">
                  <c:v>1.927121296416785</c:v>
                </c:pt>
                <c:pt idx="2">
                  <c:v>1.964484491337763</c:v>
                </c:pt>
                <c:pt idx="3">
                  <c:v>1.7177445963905309</c:v>
                </c:pt>
                <c:pt idx="4">
                  <c:v>1.771222322056307</c:v>
                </c:pt>
                <c:pt idx="5">
                  <c:v>1.931888819030217</c:v>
                </c:pt>
                <c:pt idx="6">
                  <c:v>1.8116731196836671</c:v>
                </c:pt>
                <c:pt idx="7">
                  <c:v>1.8112629430438869</c:v>
                </c:pt>
                <c:pt idx="8">
                  <c:v>1.9893948475278911</c:v>
                </c:pt>
                <c:pt idx="9">
                  <c:v>1.7774913331703961</c:v>
                </c:pt>
                <c:pt idx="10">
                  <c:v>1.667622723347691</c:v>
                </c:pt>
                <c:pt idx="11">
                  <c:v>1.5555385458522231</c:v>
                </c:pt>
                <c:pt idx="12">
                  <c:v>1.8143248697661101</c:v>
                </c:pt>
                <c:pt idx="13">
                  <c:v>1.927121296416785</c:v>
                </c:pt>
                <c:pt idx="14">
                  <c:v>1.964484491337763</c:v>
                </c:pt>
                <c:pt idx="15">
                  <c:v>1.7177445963905309</c:v>
                </c:pt>
                <c:pt idx="16">
                  <c:v>1.771222322056307</c:v>
                </c:pt>
                <c:pt idx="17">
                  <c:v>1.931888819030217</c:v>
                </c:pt>
                <c:pt idx="18">
                  <c:v>1.8116731196836671</c:v>
                </c:pt>
                <c:pt idx="19">
                  <c:v>1.8112629430438869</c:v>
                </c:pt>
                <c:pt idx="20">
                  <c:v>1.9893948475278911</c:v>
                </c:pt>
                <c:pt idx="21">
                  <c:v>1.7774913331703961</c:v>
                </c:pt>
                <c:pt idx="22">
                  <c:v>1.667622723347691</c:v>
                </c:pt>
                <c:pt idx="23">
                  <c:v>1.55553854585222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FEF-45A3-AF7E-81F03622E30C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  <c:pt idx="0">
                  <c:v>Molecule 6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6"/>
              </a:solidFill>
              <a:ln w="19050">
                <a:solidFill>
                  <a:schemeClr val="accent6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7:$Y$7</c:f>
              <c:numCache>
                <c:formatCode>0.0</c:formatCode>
                <c:ptCount val="24"/>
                <c:pt idx="0">
                  <c:v>1.191637775159099</c:v>
                </c:pt>
                <c:pt idx="1">
                  <c:v>1.3253380997902049</c:v>
                </c:pt>
                <c:pt idx="2">
                  <c:v>1.353119976573923</c:v>
                </c:pt>
                <c:pt idx="3">
                  <c:v>1.197747126413651</c:v>
                </c:pt>
                <c:pt idx="4">
                  <c:v>1.2445245699690719</c:v>
                </c:pt>
                <c:pt idx="5">
                  <c:v>1.337371296125295</c:v>
                </c:pt>
                <c:pt idx="6">
                  <c:v>1.304545763533308</c:v>
                </c:pt>
                <c:pt idx="7">
                  <c:v>1.3422940824755989</c:v>
                </c:pt>
                <c:pt idx="8">
                  <c:v>1.3514837706473981</c:v>
                </c:pt>
                <c:pt idx="9">
                  <c:v>1.409554791234316</c:v>
                </c:pt>
                <c:pt idx="10">
                  <c:v>1.357508896468413</c:v>
                </c:pt>
                <c:pt idx="11">
                  <c:v>1.2691098429040151</c:v>
                </c:pt>
                <c:pt idx="12">
                  <c:v>1.191637775159099</c:v>
                </c:pt>
                <c:pt idx="13">
                  <c:v>1.3253380997902049</c:v>
                </c:pt>
                <c:pt idx="14">
                  <c:v>1.353119976573923</c:v>
                </c:pt>
                <c:pt idx="15">
                  <c:v>1.197747126413651</c:v>
                </c:pt>
                <c:pt idx="16">
                  <c:v>1.2445245699690719</c:v>
                </c:pt>
                <c:pt idx="17">
                  <c:v>1.337371296125295</c:v>
                </c:pt>
                <c:pt idx="18">
                  <c:v>1.304545763533308</c:v>
                </c:pt>
                <c:pt idx="19">
                  <c:v>1.3422940824755989</c:v>
                </c:pt>
                <c:pt idx="20">
                  <c:v>1.3514837706473981</c:v>
                </c:pt>
                <c:pt idx="21">
                  <c:v>1.409554791234316</c:v>
                </c:pt>
                <c:pt idx="22">
                  <c:v>1.357508896468413</c:v>
                </c:pt>
                <c:pt idx="23">
                  <c:v>1.26910984290401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FEF-45A3-AF7E-81F03622E30C}"/>
            </c:ext>
          </c:extLst>
        </c:ser>
        <c:ser>
          <c:idx val="6"/>
          <c:order val="6"/>
          <c:tx>
            <c:strRef>
              <c:f>Sheet1!$A$8</c:f>
              <c:strCache>
                <c:ptCount val="1"/>
                <c:pt idx="0">
                  <c:v>Molecule 7</c:v>
                </c:pt>
              </c:strCache>
            </c:strRef>
          </c:tx>
          <c:spPr>
            <a:ln w="19050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accent1">
                    <a:lumMod val="60000"/>
                  </a:schemeClr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8:$Y$8</c:f>
              <c:numCache>
                <c:formatCode>0.0</c:formatCode>
                <c:ptCount val="24"/>
                <c:pt idx="0">
                  <c:v>1.1310414046716619</c:v>
                </c:pt>
                <c:pt idx="1">
                  <c:v>1.2462872344321489</c:v>
                </c:pt>
                <c:pt idx="2">
                  <c:v>1.188060760335933</c:v>
                </c:pt>
                <c:pt idx="3">
                  <c:v>1.146472560793337</c:v>
                </c:pt>
                <c:pt idx="4">
                  <c:v>1.1673670756914569</c:v>
                </c:pt>
                <c:pt idx="5">
                  <c:v>1.2317662926694779</c:v>
                </c:pt>
                <c:pt idx="6">
                  <c:v>1.205745067579912</c:v>
                </c:pt>
                <c:pt idx="7">
                  <c:v>1.279088886555948</c:v>
                </c:pt>
                <c:pt idx="8">
                  <c:v>1.306673226283575</c:v>
                </c:pt>
                <c:pt idx="9">
                  <c:v>1.2355803564088479</c:v>
                </c:pt>
                <c:pt idx="10">
                  <c:v>1.255491984891064</c:v>
                </c:pt>
                <c:pt idx="11">
                  <c:v>1.2830488268451441</c:v>
                </c:pt>
                <c:pt idx="12">
                  <c:v>1.1310414046716619</c:v>
                </c:pt>
                <c:pt idx="13">
                  <c:v>1.2462872344321489</c:v>
                </c:pt>
                <c:pt idx="14">
                  <c:v>1.188060760335933</c:v>
                </c:pt>
                <c:pt idx="15">
                  <c:v>1.146472560793337</c:v>
                </c:pt>
                <c:pt idx="16">
                  <c:v>1.1673670756914569</c:v>
                </c:pt>
                <c:pt idx="17">
                  <c:v>1.2317662926694779</c:v>
                </c:pt>
                <c:pt idx="18">
                  <c:v>1.205745067579912</c:v>
                </c:pt>
                <c:pt idx="19">
                  <c:v>1.279088886555948</c:v>
                </c:pt>
                <c:pt idx="20">
                  <c:v>1.306673226283575</c:v>
                </c:pt>
                <c:pt idx="21">
                  <c:v>1.2355803564088479</c:v>
                </c:pt>
                <c:pt idx="22">
                  <c:v>1.255491984891064</c:v>
                </c:pt>
                <c:pt idx="23">
                  <c:v>1.28304882684514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FFEF-45A3-AF7E-81F03622E30C}"/>
            </c:ext>
          </c:extLst>
        </c:ser>
        <c:ser>
          <c:idx val="7"/>
          <c:order val="7"/>
          <c:tx>
            <c:strRef>
              <c:f>Sheet1!$A$9</c:f>
              <c:strCache>
                <c:ptCount val="1"/>
                <c:pt idx="0">
                  <c:v>Molecule 8</c:v>
                </c:pt>
              </c:strCache>
            </c:strRef>
          </c:tx>
          <c:spPr>
            <a:ln w="19050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accent2">
                    <a:lumMod val="60000"/>
                  </a:schemeClr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9:$Y$9</c:f>
              <c:numCache>
                <c:formatCode>0.0</c:formatCode>
                <c:ptCount val="24"/>
                <c:pt idx="0">
                  <c:v>0.94644718862103816</c:v>
                </c:pt>
                <c:pt idx="1">
                  <c:v>0.91867780792933462</c:v>
                </c:pt>
                <c:pt idx="2">
                  <c:v>0.99873193058063225</c:v>
                </c:pt>
                <c:pt idx="3">
                  <c:v>0.88104765680278363</c:v>
                </c:pt>
                <c:pt idx="4">
                  <c:v>0.92707552109644908</c:v>
                </c:pt>
                <c:pt idx="5">
                  <c:v>1.047793957003754</c:v>
                </c:pt>
                <c:pt idx="6">
                  <c:v>0.91672532439445265</c:v>
                </c:pt>
                <c:pt idx="7">
                  <c:v>0.95237387648011285</c:v>
                </c:pt>
                <c:pt idx="8">
                  <c:v>1.0457055763565399</c:v>
                </c:pt>
                <c:pt idx="9">
                  <c:v>0.99618968146352871</c:v>
                </c:pt>
                <c:pt idx="10">
                  <c:v>0.92501578762885284</c:v>
                </c:pt>
                <c:pt idx="11">
                  <c:v>0.9608972266945045</c:v>
                </c:pt>
                <c:pt idx="12">
                  <c:v>0.94644718862103816</c:v>
                </c:pt>
                <c:pt idx="13">
                  <c:v>0.91867780792933462</c:v>
                </c:pt>
                <c:pt idx="14">
                  <c:v>0.99873193058063225</c:v>
                </c:pt>
                <c:pt idx="15">
                  <c:v>0.88104765680278363</c:v>
                </c:pt>
                <c:pt idx="16">
                  <c:v>0.92707552109644908</c:v>
                </c:pt>
                <c:pt idx="17">
                  <c:v>1.047793957003754</c:v>
                </c:pt>
                <c:pt idx="18">
                  <c:v>0.91672532439445265</c:v>
                </c:pt>
                <c:pt idx="19">
                  <c:v>0.95237387648011285</c:v>
                </c:pt>
                <c:pt idx="20">
                  <c:v>1.0457055763565399</c:v>
                </c:pt>
                <c:pt idx="21">
                  <c:v>0.99618968146352871</c:v>
                </c:pt>
                <c:pt idx="22">
                  <c:v>0.92501578762885284</c:v>
                </c:pt>
                <c:pt idx="23">
                  <c:v>0.96089722669450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FFEF-45A3-AF7E-81F03622E30C}"/>
            </c:ext>
          </c:extLst>
        </c:ser>
        <c:ser>
          <c:idx val="8"/>
          <c:order val="8"/>
          <c:tx>
            <c:strRef>
              <c:f>Sheet1!$A$10</c:f>
              <c:strCache>
                <c:ptCount val="1"/>
                <c:pt idx="0">
                  <c:v>Molecule 9</c:v>
                </c:pt>
              </c:strCache>
            </c:strRef>
          </c:tx>
          <c:spPr>
            <a:ln w="19050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accent3">
                    <a:lumMod val="60000"/>
                  </a:schemeClr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10:$Y$10</c:f>
              <c:numCache>
                <c:formatCode>0.0</c:formatCode>
                <c:ptCount val="24"/>
                <c:pt idx="0">
                  <c:v>0.57084972240940424</c:v>
                </c:pt>
                <c:pt idx="1">
                  <c:v>0.59545141869740004</c:v>
                </c:pt>
                <c:pt idx="2">
                  <c:v>0.61879568902477367</c:v>
                </c:pt>
                <c:pt idx="3">
                  <c:v>0.65554244338141121</c:v>
                </c:pt>
                <c:pt idx="4">
                  <c:v>0.69319488184960787</c:v>
                </c:pt>
                <c:pt idx="5">
                  <c:v>0.6886205174012775</c:v>
                </c:pt>
                <c:pt idx="6">
                  <c:v>0.72427565003328553</c:v>
                </c:pt>
                <c:pt idx="7">
                  <c:v>0.72076609675008241</c:v>
                </c:pt>
                <c:pt idx="8">
                  <c:v>0.73456490737579638</c:v>
                </c:pt>
                <c:pt idx="9">
                  <c:v>0.71839276887508263</c:v>
                </c:pt>
                <c:pt idx="10">
                  <c:v>0.7115688644112278</c:v>
                </c:pt>
                <c:pt idx="11">
                  <c:v>0.74217276630032025</c:v>
                </c:pt>
                <c:pt idx="12">
                  <c:v>0.57084972240940424</c:v>
                </c:pt>
                <c:pt idx="13">
                  <c:v>0.59545141869740004</c:v>
                </c:pt>
                <c:pt idx="14">
                  <c:v>0.61879568902477367</c:v>
                </c:pt>
                <c:pt idx="15">
                  <c:v>0.65554244338141121</c:v>
                </c:pt>
                <c:pt idx="16">
                  <c:v>0.69319488184960787</c:v>
                </c:pt>
                <c:pt idx="17">
                  <c:v>0.6886205174012775</c:v>
                </c:pt>
                <c:pt idx="18">
                  <c:v>0.72427565003328553</c:v>
                </c:pt>
                <c:pt idx="19">
                  <c:v>0.72076609675008241</c:v>
                </c:pt>
                <c:pt idx="20">
                  <c:v>0.73456490737579638</c:v>
                </c:pt>
                <c:pt idx="21">
                  <c:v>0.71839276887508263</c:v>
                </c:pt>
                <c:pt idx="22">
                  <c:v>0.7115688644112278</c:v>
                </c:pt>
                <c:pt idx="23">
                  <c:v>0.742172766300320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FFEF-45A3-AF7E-81F03622E30C}"/>
            </c:ext>
          </c:extLst>
        </c:ser>
        <c:ser>
          <c:idx val="9"/>
          <c:order val="9"/>
          <c:tx>
            <c:strRef>
              <c:f>Sheet1!$A$11</c:f>
              <c:strCache>
                <c:ptCount val="1"/>
                <c:pt idx="0">
                  <c:v>Molecule 10</c:v>
                </c:pt>
              </c:strCache>
            </c:strRef>
          </c:tx>
          <c:spPr>
            <a:ln w="19050" cap="rnd">
              <a:solidFill>
                <a:srgbClr val="1482AC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rgbClr val="1482AC"/>
              </a:solidFill>
              <a:ln w="19050">
                <a:solidFill>
                  <a:srgbClr val="1482AC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11:$Y$11</c:f>
              <c:numCache>
                <c:formatCode>0.0</c:formatCode>
                <c:ptCount val="24"/>
                <c:pt idx="0">
                  <c:v>0.6412040729748939</c:v>
                </c:pt>
                <c:pt idx="1">
                  <c:v>0.63351079917111608</c:v>
                </c:pt>
                <c:pt idx="2">
                  <c:v>0.5768480301566753</c:v>
                </c:pt>
                <c:pt idx="3">
                  <c:v>0.61365384383555988</c:v>
                </c:pt>
                <c:pt idx="4">
                  <c:v>0.58595849847294246</c:v>
                </c:pt>
                <c:pt idx="5">
                  <c:v>0.62346865751417502</c:v>
                </c:pt>
                <c:pt idx="6">
                  <c:v>0.59299707170810478</c:v>
                </c:pt>
                <c:pt idx="7">
                  <c:v>0.62781903644583481</c:v>
                </c:pt>
                <c:pt idx="8">
                  <c:v>0.64817824689151193</c:v>
                </c:pt>
                <c:pt idx="9">
                  <c:v>0.68020035011213753</c:v>
                </c:pt>
                <c:pt idx="10">
                  <c:v>0.68879940310144538</c:v>
                </c:pt>
                <c:pt idx="11">
                  <c:v>0.65374384701341337</c:v>
                </c:pt>
                <c:pt idx="12">
                  <c:v>0.6412040729748939</c:v>
                </c:pt>
                <c:pt idx="13">
                  <c:v>0.63351079917111608</c:v>
                </c:pt>
                <c:pt idx="14">
                  <c:v>0.5768480301566753</c:v>
                </c:pt>
                <c:pt idx="15">
                  <c:v>0.61365384383555988</c:v>
                </c:pt>
                <c:pt idx="16">
                  <c:v>0.58595849847294246</c:v>
                </c:pt>
                <c:pt idx="17">
                  <c:v>0.62346865751417502</c:v>
                </c:pt>
                <c:pt idx="18">
                  <c:v>0.59299707170810478</c:v>
                </c:pt>
                <c:pt idx="19">
                  <c:v>0.62781903644583481</c:v>
                </c:pt>
                <c:pt idx="20">
                  <c:v>0.64817824689151193</c:v>
                </c:pt>
                <c:pt idx="21">
                  <c:v>0.68020035011213753</c:v>
                </c:pt>
                <c:pt idx="22">
                  <c:v>0.68879940310144538</c:v>
                </c:pt>
                <c:pt idx="23">
                  <c:v>0.653743847013413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FFEF-45A3-AF7E-81F03622E30C}"/>
            </c:ext>
          </c:extLst>
        </c:ser>
        <c:ser>
          <c:idx val="10"/>
          <c:order val="10"/>
          <c:tx>
            <c:strRef>
              <c:f>Sheet1!$A$12</c:f>
              <c:strCache>
                <c:ptCount val="1"/>
                <c:pt idx="0">
                  <c:v>Others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6"/>
              </a:solidFill>
              <a:ln w="19050">
                <a:solidFill>
                  <a:schemeClr val="accent6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12:$Y$12</c:f>
              <c:numCache>
                <c:formatCode>0.0</c:formatCode>
                <c:ptCount val="24"/>
                <c:pt idx="0">
                  <c:v>0.57288930640820601</c:v>
                </c:pt>
                <c:pt idx="1">
                  <c:v>0.60380664275974827</c:v>
                </c:pt>
                <c:pt idx="2">
                  <c:v>0.58587628353508692</c:v>
                </c:pt>
                <c:pt idx="3">
                  <c:v>0.55075661766040274</c:v>
                </c:pt>
                <c:pt idx="4">
                  <c:v>0.56300887777178465</c:v>
                </c:pt>
                <c:pt idx="5">
                  <c:v>0.58863714930102606</c:v>
                </c:pt>
                <c:pt idx="6">
                  <c:v>0.57075511241875698</c:v>
                </c:pt>
                <c:pt idx="7">
                  <c:v>0.57358572447108247</c:v>
                </c:pt>
                <c:pt idx="8">
                  <c:v>0.58915251145581116</c:v>
                </c:pt>
                <c:pt idx="9">
                  <c:v>0.56843944160490156</c:v>
                </c:pt>
                <c:pt idx="10">
                  <c:v>0.58022815339207623</c:v>
                </c:pt>
                <c:pt idx="11">
                  <c:v>0.6104943074891761</c:v>
                </c:pt>
                <c:pt idx="12">
                  <c:v>0.57288930640820601</c:v>
                </c:pt>
                <c:pt idx="13">
                  <c:v>0.60380664275974827</c:v>
                </c:pt>
                <c:pt idx="14">
                  <c:v>0.58587628353508692</c:v>
                </c:pt>
                <c:pt idx="15">
                  <c:v>0.55075661766040274</c:v>
                </c:pt>
                <c:pt idx="16">
                  <c:v>0.56300887777178465</c:v>
                </c:pt>
                <c:pt idx="17">
                  <c:v>0.58863714930102606</c:v>
                </c:pt>
                <c:pt idx="18">
                  <c:v>0.57075511241875698</c:v>
                </c:pt>
                <c:pt idx="19">
                  <c:v>0.57358572447108247</c:v>
                </c:pt>
                <c:pt idx="20">
                  <c:v>0.58915251145581116</c:v>
                </c:pt>
                <c:pt idx="21">
                  <c:v>0.56843944160490156</c:v>
                </c:pt>
                <c:pt idx="22">
                  <c:v>0.58022815339207623</c:v>
                </c:pt>
                <c:pt idx="23">
                  <c:v>0.6104943074891761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A-FFEF-45A3-AF7E-81F03622E3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21539152"/>
        <c:axId val="421539936"/>
        <c:extLst/>
      </c:lineChart>
      <c:catAx>
        <c:axId val="42153915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21539936"/>
        <c:crosses val="autoZero"/>
        <c:auto val="1"/>
        <c:lblAlgn val="ctr"/>
        <c:lblOffset val="100"/>
        <c:noMultiLvlLbl val="0"/>
      </c:catAx>
      <c:valAx>
        <c:axId val="42153993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Volume (</a:t>
                </a:r>
                <a:r>
                  <a:rPr lang="en-US" dirty="0" err="1"/>
                  <a:t>Mn</a:t>
                </a:r>
                <a:r>
                  <a:rPr lang="en-US" dirty="0"/>
                  <a:t>)</a:t>
                </a:r>
              </a:p>
            </c:rich>
          </c:tx>
          <c:layout>
            <c:manualLayout>
              <c:xMode val="edge"/>
              <c:yMode val="edge"/>
              <c:x val="6.1916845621570037E-2"/>
              <c:y val="6.8492289299525194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7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#,##0.00_ 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21539152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>
          <a:solidFill>
            <a:schemeClr val="tx1"/>
          </a:solidFill>
          <a:latin typeface="+mn-lt"/>
        </a:defRPr>
      </a:pPr>
      <a:endParaRPr lang="zh-CN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788451443569554"/>
          <c:y val="2.5095208687149397E-2"/>
          <c:w val="0.85096253877356232"/>
          <c:h val="0.45496423241212502"/>
        </c:manualLayout>
      </c:layout>
      <c:lineChart>
        <c:grouping val="standard"/>
        <c:varyColors val="0"/>
        <c:ser>
          <c:idx val="2"/>
          <c:order val="0"/>
          <c:tx>
            <c:strRef>
              <c:f>Sheet1!$A$2</c:f>
              <c:strCache>
                <c:ptCount val="1"/>
                <c:pt idx="0">
                  <c:v>Molecule 1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3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2:$Y$2</c:f>
              <c:numCache>
                <c:formatCode>0.0</c:formatCode>
                <c:ptCount val="24"/>
                <c:pt idx="0">
                  <c:v>3.3681058007858571</c:v>
                </c:pt>
                <c:pt idx="1">
                  <c:v>3.2782880060910631</c:v>
                </c:pt>
                <c:pt idx="2">
                  <c:v>3.0476069483245198</c:v>
                </c:pt>
                <c:pt idx="3">
                  <c:v>3.034920851669034</c:v>
                </c:pt>
                <c:pt idx="4">
                  <c:v>3.0952222840328991</c:v>
                </c:pt>
                <c:pt idx="5">
                  <c:v>2.8050884580374649</c:v>
                </c:pt>
                <c:pt idx="6">
                  <c:v>3.1006053322974361</c:v>
                </c:pt>
                <c:pt idx="7">
                  <c:v>3.1296643227389591</c:v>
                </c:pt>
                <c:pt idx="8">
                  <c:v>3.1959529893929441</c:v>
                </c:pt>
                <c:pt idx="9">
                  <c:v>3.3524564315141832</c:v>
                </c:pt>
                <c:pt idx="10">
                  <c:v>3.4602927129878531</c:v>
                </c:pt>
                <c:pt idx="11">
                  <c:v>3.0553898735851108</c:v>
                </c:pt>
                <c:pt idx="12">
                  <c:v>3.3681058007858571</c:v>
                </c:pt>
                <c:pt idx="13">
                  <c:v>3.2782880060910631</c:v>
                </c:pt>
                <c:pt idx="14">
                  <c:v>3.0476069483245198</c:v>
                </c:pt>
                <c:pt idx="15">
                  <c:v>3.034920851669034</c:v>
                </c:pt>
                <c:pt idx="16">
                  <c:v>3.0952222840328991</c:v>
                </c:pt>
                <c:pt idx="17">
                  <c:v>2.8050884580374649</c:v>
                </c:pt>
                <c:pt idx="18">
                  <c:v>3.1006053322974361</c:v>
                </c:pt>
                <c:pt idx="19">
                  <c:v>3.1296643227389591</c:v>
                </c:pt>
                <c:pt idx="20">
                  <c:v>3.1959529893929441</c:v>
                </c:pt>
                <c:pt idx="21">
                  <c:v>3.3524564315141832</c:v>
                </c:pt>
                <c:pt idx="22">
                  <c:v>3.4602927129878531</c:v>
                </c:pt>
                <c:pt idx="23">
                  <c:v>3.05538987358511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FEF-45A3-AF7E-81F03622E30C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Molecule 2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2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3:$Y$3</c:f>
              <c:numCache>
                <c:formatCode>0.0</c:formatCode>
                <c:ptCount val="24"/>
                <c:pt idx="0">
                  <c:v>3.2278446708946031</c:v>
                </c:pt>
                <c:pt idx="1">
                  <c:v>3.581541968447727</c:v>
                </c:pt>
                <c:pt idx="2">
                  <c:v>3.0216540314169409</c:v>
                </c:pt>
                <c:pt idx="3">
                  <c:v>3.1342779528827709</c:v>
                </c:pt>
                <c:pt idx="4">
                  <c:v>3.116866452702924</c:v>
                </c:pt>
                <c:pt idx="5">
                  <c:v>2.9115436553497069</c:v>
                </c:pt>
                <c:pt idx="6">
                  <c:v>3.1867767979014721</c:v>
                </c:pt>
                <c:pt idx="7">
                  <c:v>3.2893579411293952</c:v>
                </c:pt>
                <c:pt idx="8">
                  <c:v>3.0248394835742101</c:v>
                </c:pt>
                <c:pt idx="9">
                  <c:v>3.2530527033936179</c:v>
                </c:pt>
                <c:pt idx="10">
                  <c:v>3.100479853064825</c:v>
                </c:pt>
                <c:pt idx="11">
                  <c:v>2.9323136900097819</c:v>
                </c:pt>
                <c:pt idx="12">
                  <c:v>3.2278446708946031</c:v>
                </c:pt>
                <c:pt idx="13">
                  <c:v>3.581541968447727</c:v>
                </c:pt>
                <c:pt idx="14">
                  <c:v>3.0216540314169409</c:v>
                </c:pt>
                <c:pt idx="15">
                  <c:v>3.1342779528827709</c:v>
                </c:pt>
                <c:pt idx="16">
                  <c:v>3.116866452702924</c:v>
                </c:pt>
                <c:pt idx="17">
                  <c:v>2.9115436553497069</c:v>
                </c:pt>
                <c:pt idx="18">
                  <c:v>3.1867767979014721</c:v>
                </c:pt>
                <c:pt idx="19">
                  <c:v>3.2893579411293952</c:v>
                </c:pt>
                <c:pt idx="20">
                  <c:v>3.0248394835742101</c:v>
                </c:pt>
                <c:pt idx="21">
                  <c:v>3.2530527033936179</c:v>
                </c:pt>
                <c:pt idx="22">
                  <c:v>3.100479853064825</c:v>
                </c:pt>
                <c:pt idx="23">
                  <c:v>2.93231369000978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FEF-45A3-AF7E-81F03622E30C}"/>
            </c:ext>
          </c:extLst>
        </c:ser>
        <c:ser>
          <c:idx val="0"/>
          <c:order val="2"/>
          <c:tx>
            <c:strRef>
              <c:f>Sheet1!$A$4</c:f>
              <c:strCache>
                <c:ptCount val="1"/>
                <c:pt idx="0">
                  <c:v>Molecule 3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1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4:$Y$4</c:f>
              <c:numCache>
                <c:formatCode>0.0</c:formatCode>
                <c:ptCount val="24"/>
                <c:pt idx="0">
                  <c:v>1.7847804821175759</c:v>
                </c:pt>
                <c:pt idx="1">
                  <c:v>2.111888947394597</c:v>
                </c:pt>
                <c:pt idx="2">
                  <c:v>1.8388360641427799</c:v>
                </c:pt>
                <c:pt idx="3">
                  <c:v>1.809342480422363</c:v>
                </c:pt>
                <c:pt idx="4">
                  <c:v>1.8850965404279609</c:v>
                </c:pt>
                <c:pt idx="5">
                  <c:v>2.0439093432783011</c:v>
                </c:pt>
                <c:pt idx="6">
                  <c:v>2.0032790270958349</c:v>
                </c:pt>
                <c:pt idx="7">
                  <c:v>2.0617290270597861</c:v>
                </c:pt>
                <c:pt idx="8">
                  <c:v>2.079172443826466</c:v>
                </c:pt>
                <c:pt idx="9">
                  <c:v>2.002013322367743</c:v>
                </c:pt>
                <c:pt idx="10">
                  <c:v>2.0468691250946942</c:v>
                </c:pt>
                <c:pt idx="11">
                  <c:v>2.0618215774310511</c:v>
                </c:pt>
                <c:pt idx="12">
                  <c:v>1.7847804821175759</c:v>
                </c:pt>
                <c:pt idx="13">
                  <c:v>2.111888947394597</c:v>
                </c:pt>
                <c:pt idx="14">
                  <c:v>1.8388360641427799</c:v>
                </c:pt>
                <c:pt idx="15">
                  <c:v>1.809342480422363</c:v>
                </c:pt>
                <c:pt idx="16">
                  <c:v>1.8850965404279609</c:v>
                </c:pt>
                <c:pt idx="17">
                  <c:v>2.0439093432783011</c:v>
                </c:pt>
                <c:pt idx="18">
                  <c:v>2.0032790270958349</c:v>
                </c:pt>
                <c:pt idx="19">
                  <c:v>2.0617290270597861</c:v>
                </c:pt>
                <c:pt idx="20">
                  <c:v>2.079172443826466</c:v>
                </c:pt>
                <c:pt idx="21">
                  <c:v>2.002013322367743</c:v>
                </c:pt>
                <c:pt idx="22">
                  <c:v>2.0468691250946942</c:v>
                </c:pt>
                <c:pt idx="23">
                  <c:v>2.06182157743105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FEF-45A3-AF7E-81F03622E30C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Molecule 4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4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5:$Y$5</c:f>
              <c:numCache>
                <c:formatCode>0.0</c:formatCode>
                <c:ptCount val="24"/>
                <c:pt idx="0">
                  <c:v>1.802197443720859</c:v>
                </c:pt>
                <c:pt idx="1">
                  <c:v>1.926909210732898</c:v>
                </c:pt>
                <c:pt idx="2">
                  <c:v>1.833435665235206</c:v>
                </c:pt>
                <c:pt idx="3">
                  <c:v>1.7826641410930999</c:v>
                </c:pt>
                <c:pt idx="4">
                  <c:v>1.792287523144823</c:v>
                </c:pt>
                <c:pt idx="5">
                  <c:v>1.858171085322661</c:v>
                </c:pt>
                <c:pt idx="6">
                  <c:v>1.7892468639945069</c:v>
                </c:pt>
                <c:pt idx="7">
                  <c:v>1.8455177351331831</c:v>
                </c:pt>
                <c:pt idx="8">
                  <c:v>1.904295498999236</c:v>
                </c:pt>
                <c:pt idx="9">
                  <c:v>1.8534564913513181</c:v>
                </c:pt>
                <c:pt idx="10">
                  <c:v>1.8991475039855359</c:v>
                </c:pt>
                <c:pt idx="11">
                  <c:v>1.86854845571558</c:v>
                </c:pt>
                <c:pt idx="12">
                  <c:v>1.802197443720859</c:v>
                </c:pt>
                <c:pt idx="13">
                  <c:v>1.926909210732898</c:v>
                </c:pt>
                <c:pt idx="14">
                  <c:v>1.833435665235206</c:v>
                </c:pt>
                <c:pt idx="15">
                  <c:v>1.7826641410930999</c:v>
                </c:pt>
                <c:pt idx="16">
                  <c:v>1.792287523144823</c:v>
                </c:pt>
                <c:pt idx="17">
                  <c:v>1.858171085322661</c:v>
                </c:pt>
                <c:pt idx="18">
                  <c:v>1.7892468639945069</c:v>
                </c:pt>
                <c:pt idx="19">
                  <c:v>1.8455177351331831</c:v>
                </c:pt>
                <c:pt idx="20">
                  <c:v>1.904295498999236</c:v>
                </c:pt>
                <c:pt idx="21">
                  <c:v>1.8534564913513181</c:v>
                </c:pt>
                <c:pt idx="22">
                  <c:v>1.8991475039855359</c:v>
                </c:pt>
                <c:pt idx="23">
                  <c:v>1.868548455715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FEF-45A3-AF7E-81F03622E30C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Molecule 5</c:v>
                </c:pt>
              </c:strCache>
            </c:strRef>
          </c:tx>
          <c:spPr>
            <a:ln w="19050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5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6:$Y$6</c:f>
              <c:numCache>
                <c:formatCode>0.0</c:formatCode>
                <c:ptCount val="24"/>
                <c:pt idx="0">
                  <c:v>1.8143248697661101</c:v>
                </c:pt>
                <c:pt idx="1">
                  <c:v>1.927121296416785</c:v>
                </c:pt>
                <c:pt idx="2">
                  <c:v>1.964484491337763</c:v>
                </c:pt>
                <c:pt idx="3">
                  <c:v>1.7177445963905309</c:v>
                </c:pt>
                <c:pt idx="4">
                  <c:v>1.771222322056307</c:v>
                </c:pt>
                <c:pt idx="5">
                  <c:v>1.931888819030217</c:v>
                </c:pt>
                <c:pt idx="6">
                  <c:v>1.8116731196836671</c:v>
                </c:pt>
                <c:pt idx="7">
                  <c:v>1.8112629430438869</c:v>
                </c:pt>
                <c:pt idx="8">
                  <c:v>1.9893948475278911</c:v>
                </c:pt>
                <c:pt idx="9">
                  <c:v>1.7774913331703961</c:v>
                </c:pt>
                <c:pt idx="10">
                  <c:v>1.667622723347691</c:v>
                </c:pt>
                <c:pt idx="11">
                  <c:v>1.5555385458522231</c:v>
                </c:pt>
                <c:pt idx="12">
                  <c:v>1.8143248697661101</c:v>
                </c:pt>
                <c:pt idx="13">
                  <c:v>1.927121296416785</c:v>
                </c:pt>
                <c:pt idx="14">
                  <c:v>1.964484491337763</c:v>
                </c:pt>
                <c:pt idx="15">
                  <c:v>1.7177445963905309</c:v>
                </c:pt>
                <c:pt idx="16">
                  <c:v>1.771222322056307</c:v>
                </c:pt>
                <c:pt idx="17">
                  <c:v>1.931888819030217</c:v>
                </c:pt>
                <c:pt idx="18">
                  <c:v>1.8116731196836671</c:v>
                </c:pt>
                <c:pt idx="19">
                  <c:v>1.8112629430438869</c:v>
                </c:pt>
                <c:pt idx="20">
                  <c:v>1.9893948475278911</c:v>
                </c:pt>
                <c:pt idx="21">
                  <c:v>1.7774913331703961</c:v>
                </c:pt>
                <c:pt idx="22">
                  <c:v>1.667622723347691</c:v>
                </c:pt>
                <c:pt idx="23">
                  <c:v>1.55553854585222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FEF-45A3-AF7E-81F03622E30C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  <c:pt idx="0">
                  <c:v>Molecule 6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6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7:$Y$7</c:f>
              <c:numCache>
                <c:formatCode>0.0</c:formatCode>
                <c:ptCount val="24"/>
                <c:pt idx="0">
                  <c:v>1.191637775159099</c:v>
                </c:pt>
                <c:pt idx="1">
                  <c:v>1.3253380997902049</c:v>
                </c:pt>
                <c:pt idx="2">
                  <c:v>1.353119976573923</c:v>
                </c:pt>
                <c:pt idx="3">
                  <c:v>1.197747126413651</c:v>
                </c:pt>
                <c:pt idx="4">
                  <c:v>1.2445245699690719</c:v>
                </c:pt>
                <c:pt idx="5">
                  <c:v>1.337371296125295</c:v>
                </c:pt>
                <c:pt idx="6">
                  <c:v>1.304545763533308</c:v>
                </c:pt>
                <c:pt idx="7">
                  <c:v>1.3422940824755989</c:v>
                </c:pt>
                <c:pt idx="8">
                  <c:v>1.3514837706473981</c:v>
                </c:pt>
                <c:pt idx="9">
                  <c:v>1.409554791234316</c:v>
                </c:pt>
                <c:pt idx="10">
                  <c:v>1.357508896468413</c:v>
                </c:pt>
                <c:pt idx="11">
                  <c:v>1.2691098429040151</c:v>
                </c:pt>
                <c:pt idx="12">
                  <c:v>1.191637775159099</c:v>
                </c:pt>
                <c:pt idx="13">
                  <c:v>1.3253380997902049</c:v>
                </c:pt>
                <c:pt idx="14">
                  <c:v>1.353119976573923</c:v>
                </c:pt>
                <c:pt idx="15">
                  <c:v>1.197747126413651</c:v>
                </c:pt>
                <c:pt idx="16">
                  <c:v>1.2445245699690719</c:v>
                </c:pt>
                <c:pt idx="17">
                  <c:v>1.337371296125295</c:v>
                </c:pt>
                <c:pt idx="18">
                  <c:v>1.304545763533308</c:v>
                </c:pt>
                <c:pt idx="19">
                  <c:v>1.3422940824755989</c:v>
                </c:pt>
                <c:pt idx="20">
                  <c:v>1.3514837706473981</c:v>
                </c:pt>
                <c:pt idx="21">
                  <c:v>1.409554791234316</c:v>
                </c:pt>
                <c:pt idx="22">
                  <c:v>1.357508896468413</c:v>
                </c:pt>
                <c:pt idx="23">
                  <c:v>1.26910984290401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FEF-45A3-AF7E-81F03622E30C}"/>
            </c:ext>
          </c:extLst>
        </c:ser>
        <c:ser>
          <c:idx val="6"/>
          <c:order val="6"/>
          <c:tx>
            <c:strRef>
              <c:f>Sheet1!$A$8</c:f>
              <c:strCache>
                <c:ptCount val="1"/>
                <c:pt idx="0">
                  <c:v>Molecule 7</c:v>
                </c:pt>
              </c:strCache>
            </c:strRef>
          </c:tx>
          <c:spPr>
            <a:ln w="19050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1">
                    <a:lumMod val="60000"/>
                  </a:schemeClr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8:$Y$8</c:f>
              <c:numCache>
                <c:formatCode>0.0</c:formatCode>
                <c:ptCount val="24"/>
                <c:pt idx="0">
                  <c:v>1.1310414046716619</c:v>
                </c:pt>
                <c:pt idx="1">
                  <c:v>1.2462872344321489</c:v>
                </c:pt>
                <c:pt idx="2">
                  <c:v>1.188060760335933</c:v>
                </c:pt>
                <c:pt idx="3">
                  <c:v>1.146472560793337</c:v>
                </c:pt>
                <c:pt idx="4">
                  <c:v>1.1673670756914569</c:v>
                </c:pt>
                <c:pt idx="5">
                  <c:v>1.2317662926694779</c:v>
                </c:pt>
                <c:pt idx="6">
                  <c:v>1.205745067579912</c:v>
                </c:pt>
                <c:pt idx="7">
                  <c:v>1.279088886555948</c:v>
                </c:pt>
                <c:pt idx="8">
                  <c:v>1.306673226283575</c:v>
                </c:pt>
                <c:pt idx="9">
                  <c:v>1.2355803564088479</c:v>
                </c:pt>
                <c:pt idx="10">
                  <c:v>1.255491984891064</c:v>
                </c:pt>
                <c:pt idx="11">
                  <c:v>1.2830488268451441</c:v>
                </c:pt>
                <c:pt idx="12">
                  <c:v>1.1310414046716619</c:v>
                </c:pt>
                <c:pt idx="13">
                  <c:v>1.2462872344321489</c:v>
                </c:pt>
                <c:pt idx="14">
                  <c:v>1.188060760335933</c:v>
                </c:pt>
                <c:pt idx="15">
                  <c:v>1.146472560793337</c:v>
                </c:pt>
                <c:pt idx="16">
                  <c:v>1.1673670756914569</c:v>
                </c:pt>
                <c:pt idx="17">
                  <c:v>1.2317662926694779</c:v>
                </c:pt>
                <c:pt idx="18">
                  <c:v>1.205745067579912</c:v>
                </c:pt>
                <c:pt idx="19">
                  <c:v>1.279088886555948</c:v>
                </c:pt>
                <c:pt idx="20">
                  <c:v>1.306673226283575</c:v>
                </c:pt>
                <c:pt idx="21">
                  <c:v>1.2355803564088479</c:v>
                </c:pt>
                <c:pt idx="22">
                  <c:v>1.255491984891064</c:v>
                </c:pt>
                <c:pt idx="23">
                  <c:v>1.28304882684514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FFEF-45A3-AF7E-81F03622E30C}"/>
            </c:ext>
          </c:extLst>
        </c:ser>
        <c:ser>
          <c:idx val="7"/>
          <c:order val="7"/>
          <c:tx>
            <c:strRef>
              <c:f>Sheet1!$A$9</c:f>
              <c:strCache>
                <c:ptCount val="1"/>
                <c:pt idx="0">
                  <c:v>Molecule 8</c:v>
                </c:pt>
              </c:strCache>
            </c:strRef>
          </c:tx>
          <c:spPr>
            <a:ln w="19050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2">
                    <a:lumMod val="60000"/>
                  </a:schemeClr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9:$Y$9</c:f>
              <c:numCache>
                <c:formatCode>0.0</c:formatCode>
                <c:ptCount val="24"/>
                <c:pt idx="0">
                  <c:v>0.94644718862103816</c:v>
                </c:pt>
                <c:pt idx="1">
                  <c:v>0.91867780792933462</c:v>
                </c:pt>
                <c:pt idx="2">
                  <c:v>0.99873193058063225</c:v>
                </c:pt>
                <c:pt idx="3">
                  <c:v>0.88104765680278363</c:v>
                </c:pt>
                <c:pt idx="4">
                  <c:v>0.92707552109644908</c:v>
                </c:pt>
                <c:pt idx="5">
                  <c:v>1.047793957003754</c:v>
                </c:pt>
                <c:pt idx="6">
                  <c:v>0.91672532439445265</c:v>
                </c:pt>
                <c:pt idx="7">
                  <c:v>0.95237387648011285</c:v>
                </c:pt>
                <c:pt idx="8">
                  <c:v>1.0457055763565399</c:v>
                </c:pt>
                <c:pt idx="9">
                  <c:v>0.99618968146352871</c:v>
                </c:pt>
                <c:pt idx="10">
                  <c:v>0.92501578762885284</c:v>
                </c:pt>
                <c:pt idx="11">
                  <c:v>0.9608972266945045</c:v>
                </c:pt>
                <c:pt idx="12">
                  <c:v>0.94644718862103816</c:v>
                </c:pt>
                <c:pt idx="13">
                  <c:v>0.91867780792933462</c:v>
                </c:pt>
                <c:pt idx="14">
                  <c:v>0.99873193058063225</c:v>
                </c:pt>
                <c:pt idx="15">
                  <c:v>0.88104765680278363</c:v>
                </c:pt>
                <c:pt idx="16">
                  <c:v>0.92707552109644908</c:v>
                </c:pt>
                <c:pt idx="17">
                  <c:v>1.047793957003754</c:v>
                </c:pt>
                <c:pt idx="18">
                  <c:v>0.91672532439445265</c:v>
                </c:pt>
                <c:pt idx="19">
                  <c:v>0.95237387648011285</c:v>
                </c:pt>
                <c:pt idx="20">
                  <c:v>1.0457055763565399</c:v>
                </c:pt>
                <c:pt idx="21">
                  <c:v>0.99618968146352871</c:v>
                </c:pt>
                <c:pt idx="22">
                  <c:v>0.92501578762885284</c:v>
                </c:pt>
                <c:pt idx="23">
                  <c:v>0.96089722669450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FFEF-45A3-AF7E-81F03622E30C}"/>
            </c:ext>
          </c:extLst>
        </c:ser>
        <c:ser>
          <c:idx val="8"/>
          <c:order val="8"/>
          <c:tx>
            <c:strRef>
              <c:f>Sheet1!$A$10</c:f>
              <c:strCache>
                <c:ptCount val="1"/>
                <c:pt idx="0">
                  <c:v>Molecule 9</c:v>
                </c:pt>
              </c:strCache>
            </c:strRef>
          </c:tx>
          <c:spPr>
            <a:ln w="19050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3">
                    <a:lumMod val="60000"/>
                  </a:schemeClr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10:$Y$10</c:f>
              <c:numCache>
                <c:formatCode>0.0</c:formatCode>
                <c:ptCount val="24"/>
                <c:pt idx="0">
                  <c:v>0.57084972240940424</c:v>
                </c:pt>
                <c:pt idx="1">
                  <c:v>0.59545141869740004</c:v>
                </c:pt>
                <c:pt idx="2">
                  <c:v>0.61879568902477367</c:v>
                </c:pt>
                <c:pt idx="3">
                  <c:v>0.65554244338141121</c:v>
                </c:pt>
                <c:pt idx="4">
                  <c:v>0.69319488184960787</c:v>
                </c:pt>
                <c:pt idx="5">
                  <c:v>0.6886205174012775</c:v>
                </c:pt>
                <c:pt idx="6">
                  <c:v>0.72427565003328553</c:v>
                </c:pt>
                <c:pt idx="7">
                  <c:v>0.72076609675008241</c:v>
                </c:pt>
                <c:pt idx="8">
                  <c:v>0.73456490737579638</c:v>
                </c:pt>
                <c:pt idx="9">
                  <c:v>0.71839276887508263</c:v>
                </c:pt>
                <c:pt idx="10">
                  <c:v>0.7115688644112278</c:v>
                </c:pt>
                <c:pt idx="11">
                  <c:v>0.74217276630032025</c:v>
                </c:pt>
                <c:pt idx="12">
                  <c:v>0.57084972240940424</c:v>
                </c:pt>
                <c:pt idx="13">
                  <c:v>0.59545141869740004</c:v>
                </c:pt>
                <c:pt idx="14">
                  <c:v>0.61879568902477367</c:v>
                </c:pt>
                <c:pt idx="15">
                  <c:v>0.65554244338141121</c:v>
                </c:pt>
                <c:pt idx="16">
                  <c:v>0.69319488184960787</c:v>
                </c:pt>
                <c:pt idx="17">
                  <c:v>0.6886205174012775</c:v>
                </c:pt>
                <c:pt idx="18">
                  <c:v>0.72427565003328553</c:v>
                </c:pt>
                <c:pt idx="19">
                  <c:v>0.72076609675008241</c:v>
                </c:pt>
                <c:pt idx="20">
                  <c:v>0.73456490737579638</c:v>
                </c:pt>
                <c:pt idx="21">
                  <c:v>0.71839276887508263</c:v>
                </c:pt>
                <c:pt idx="22">
                  <c:v>0.7115688644112278</c:v>
                </c:pt>
                <c:pt idx="23">
                  <c:v>0.742172766300320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FFEF-45A3-AF7E-81F03622E30C}"/>
            </c:ext>
          </c:extLst>
        </c:ser>
        <c:ser>
          <c:idx val="9"/>
          <c:order val="9"/>
          <c:tx>
            <c:strRef>
              <c:f>Sheet1!$A$11</c:f>
              <c:strCache>
                <c:ptCount val="1"/>
                <c:pt idx="0">
                  <c:v>Molecule 10</c:v>
                </c:pt>
              </c:strCache>
            </c:strRef>
          </c:tx>
          <c:spPr>
            <a:ln w="19050" cap="rnd">
              <a:solidFill>
                <a:srgbClr val="1482AC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rgbClr val="1482AC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11:$Y$11</c:f>
              <c:numCache>
                <c:formatCode>0.0</c:formatCode>
                <c:ptCount val="24"/>
                <c:pt idx="0">
                  <c:v>0.6412040729748939</c:v>
                </c:pt>
                <c:pt idx="1">
                  <c:v>0.63351079917111608</c:v>
                </c:pt>
                <c:pt idx="2">
                  <c:v>0.5768480301566753</c:v>
                </c:pt>
                <c:pt idx="3">
                  <c:v>0.61365384383555988</c:v>
                </c:pt>
                <c:pt idx="4">
                  <c:v>0.58595849847294246</c:v>
                </c:pt>
                <c:pt idx="5">
                  <c:v>0.62346865751417502</c:v>
                </c:pt>
                <c:pt idx="6">
                  <c:v>0.59299707170810478</c:v>
                </c:pt>
                <c:pt idx="7">
                  <c:v>0.62781903644583481</c:v>
                </c:pt>
                <c:pt idx="8">
                  <c:v>0.64817824689151193</c:v>
                </c:pt>
                <c:pt idx="9">
                  <c:v>0.68020035011213753</c:v>
                </c:pt>
                <c:pt idx="10">
                  <c:v>0.68879940310144538</c:v>
                </c:pt>
                <c:pt idx="11">
                  <c:v>0.65374384701341337</c:v>
                </c:pt>
                <c:pt idx="12">
                  <c:v>0.6412040729748939</c:v>
                </c:pt>
                <c:pt idx="13">
                  <c:v>0.63351079917111608</c:v>
                </c:pt>
                <c:pt idx="14">
                  <c:v>0.5768480301566753</c:v>
                </c:pt>
                <c:pt idx="15">
                  <c:v>0.61365384383555988</c:v>
                </c:pt>
                <c:pt idx="16">
                  <c:v>0.58595849847294246</c:v>
                </c:pt>
                <c:pt idx="17">
                  <c:v>0.62346865751417502</c:v>
                </c:pt>
                <c:pt idx="18">
                  <c:v>0.59299707170810478</c:v>
                </c:pt>
                <c:pt idx="19">
                  <c:v>0.62781903644583481</c:v>
                </c:pt>
                <c:pt idx="20">
                  <c:v>0.64817824689151193</c:v>
                </c:pt>
                <c:pt idx="21">
                  <c:v>0.68020035011213753</c:v>
                </c:pt>
                <c:pt idx="22">
                  <c:v>0.68879940310144538</c:v>
                </c:pt>
                <c:pt idx="23">
                  <c:v>0.653743847013413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FFEF-45A3-AF7E-81F03622E30C}"/>
            </c:ext>
          </c:extLst>
        </c:ser>
        <c:ser>
          <c:idx val="10"/>
          <c:order val="10"/>
          <c:tx>
            <c:strRef>
              <c:f>Sheet1!$A$12</c:f>
              <c:strCache>
                <c:ptCount val="1"/>
                <c:pt idx="0">
                  <c:v>Others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6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12:$Y$12</c:f>
              <c:numCache>
                <c:formatCode>0.0</c:formatCode>
                <c:ptCount val="24"/>
                <c:pt idx="0">
                  <c:v>0.57288930640820601</c:v>
                </c:pt>
                <c:pt idx="1">
                  <c:v>0.60380664275974827</c:v>
                </c:pt>
                <c:pt idx="2">
                  <c:v>0.58587628353508692</c:v>
                </c:pt>
                <c:pt idx="3">
                  <c:v>0.55075661766040274</c:v>
                </c:pt>
                <c:pt idx="4">
                  <c:v>0.56300887777178465</c:v>
                </c:pt>
                <c:pt idx="5">
                  <c:v>0.58863714930102606</c:v>
                </c:pt>
                <c:pt idx="6">
                  <c:v>0.57075511241875698</c:v>
                </c:pt>
                <c:pt idx="7">
                  <c:v>0.57358572447108247</c:v>
                </c:pt>
                <c:pt idx="8">
                  <c:v>0.58915251145581116</c:v>
                </c:pt>
                <c:pt idx="9">
                  <c:v>0.56843944160490156</c:v>
                </c:pt>
                <c:pt idx="10">
                  <c:v>0.58022815339207623</c:v>
                </c:pt>
                <c:pt idx="11">
                  <c:v>0.6104943074891761</c:v>
                </c:pt>
                <c:pt idx="12">
                  <c:v>0.57288930640820601</c:v>
                </c:pt>
                <c:pt idx="13">
                  <c:v>0.60380664275974827</c:v>
                </c:pt>
                <c:pt idx="14">
                  <c:v>0.58587628353508692</c:v>
                </c:pt>
                <c:pt idx="15">
                  <c:v>0.55075661766040274</c:v>
                </c:pt>
                <c:pt idx="16">
                  <c:v>0.56300887777178465</c:v>
                </c:pt>
                <c:pt idx="17">
                  <c:v>0.58863714930102606</c:v>
                </c:pt>
                <c:pt idx="18">
                  <c:v>0.57075511241875698</c:v>
                </c:pt>
                <c:pt idx="19">
                  <c:v>0.57358572447108247</c:v>
                </c:pt>
                <c:pt idx="20">
                  <c:v>0.58915251145581116</c:v>
                </c:pt>
                <c:pt idx="21">
                  <c:v>0.56843944160490156</c:v>
                </c:pt>
                <c:pt idx="22">
                  <c:v>0.58022815339207623</c:v>
                </c:pt>
                <c:pt idx="23">
                  <c:v>0.6104943074891761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A-FFEF-45A3-AF7E-81F03622E3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21416968"/>
        <c:axId val="521419320"/>
        <c:extLst/>
      </c:lineChart>
      <c:catAx>
        <c:axId val="52141696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1419320"/>
        <c:crosses val="autoZero"/>
        <c:auto val="1"/>
        <c:lblAlgn val="ctr"/>
        <c:lblOffset val="100"/>
        <c:noMultiLvlLbl val="0"/>
      </c:catAx>
      <c:valAx>
        <c:axId val="52141932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Value Share (%)</a:t>
                </a:r>
              </a:p>
            </c:rich>
          </c:tx>
          <c:layout>
            <c:manualLayout>
              <c:xMode val="edge"/>
              <c:yMode val="edge"/>
              <c:x val="6.1916845621570037E-2"/>
              <c:y val="6.8492289299525194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7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#,##0.00_ 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1416968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>
          <a:solidFill>
            <a:schemeClr val="tx1"/>
          </a:solidFill>
          <a:latin typeface="+mn-lt"/>
        </a:defRPr>
      </a:pPr>
      <a:endParaRPr lang="zh-CN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788451443569554"/>
          <c:y val="2.5095208687149397E-2"/>
          <c:w val="0.85096253877356232"/>
          <c:h val="0.45496423241212502"/>
        </c:manualLayout>
      </c:layout>
      <c:lineChart>
        <c:grouping val="standard"/>
        <c:varyColors val="0"/>
        <c:ser>
          <c:idx val="2"/>
          <c:order val="0"/>
          <c:tx>
            <c:strRef>
              <c:f>Sheet1!$A$2</c:f>
              <c:strCache>
                <c:ptCount val="1"/>
                <c:pt idx="0">
                  <c:v>Molecule 1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3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2:$Y$2</c:f>
              <c:numCache>
                <c:formatCode>0.0</c:formatCode>
                <c:ptCount val="24"/>
                <c:pt idx="0">
                  <c:v>3.3681058007858571</c:v>
                </c:pt>
                <c:pt idx="1">
                  <c:v>3.2782880060910631</c:v>
                </c:pt>
                <c:pt idx="2">
                  <c:v>3.0476069483245198</c:v>
                </c:pt>
                <c:pt idx="3">
                  <c:v>3.034920851669034</c:v>
                </c:pt>
                <c:pt idx="4">
                  <c:v>3.0952222840328991</c:v>
                </c:pt>
                <c:pt idx="5">
                  <c:v>2.8050884580374649</c:v>
                </c:pt>
                <c:pt idx="6">
                  <c:v>3.1006053322974361</c:v>
                </c:pt>
                <c:pt idx="7">
                  <c:v>3.1296643227389591</c:v>
                </c:pt>
                <c:pt idx="8">
                  <c:v>3.1959529893929441</c:v>
                </c:pt>
                <c:pt idx="9">
                  <c:v>3.3524564315141832</c:v>
                </c:pt>
                <c:pt idx="10">
                  <c:v>3.4602927129878531</c:v>
                </c:pt>
                <c:pt idx="11">
                  <c:v>3.0553898735851108</c:v>
                </c:pt>
                <c:pt idx="12">
                  <c:v>3.3681058007858571</c:v>
                </c:pt>
                <c:pt idx="13">
                  <c:v>3.2782880060910631</c:v>
                </c:pt>
                <c:pt idx="14">
                  <c:v>3.0476069483245198</c:v>
                </c:pt>
                <c:pt idx="15">
                  <c:v>3.034920851669034</c:v>
                </c:pt>
                <c:pt idx="16">
                  <c:v>3.0952222840328991</c:v>
                </c:pt>
                <c:pt idx="17">
                  <c:v>2.8050884580374649</c:v>
                </c:pt>
                <c:pt idx="18">
                  <c:v>3.1006053322974361</c:v>
                </c:pt>
                <c:pt idx="19">
                  <c:v>3.1296643227389591</c:v>
                </c:pt>
                <c:pt idx="20">
                  <c:v>3.1959529893929441</c:v>
                </c:pt>
                <c:pt idx="21">
                  <c:v>3.3524564315141832</c:v>
                </c:pt>
                <c:pt idx="22">
                  <c:v>3.4602927129878531</c:v>
                </c:pt>
                <c:pt idx="23">
                  <c:v>3.05538987358511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FEF-45A3-AF7E-81F03622E30C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Molecule 2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2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3:$Y$3</c:f>
              <c:numCache>
                <c:formatCode>0.0</c:formatCode>
                <c:ptCount val="24"/>
                <c:pt idx="0">
                  <c:v>3.2278446708946031</c:v>
                </c:pt>
                <c:pt idx="1">
                  <c:v>3.581541968447727</c:v>
                </c:pt>
                <c:pt idx="2">
                  <c:v>3.0216540314169409</c:v>
                </c:pt>
                <c:pt idx="3">
                  <c:v>3.1342779528827709</c:v>
                </c:pt>
                <c:pt idx="4">
                  <c:v>3.116866452702924</c:v>
                </c:pt>
                <c:pt idx="5">
                  <c:v>2.9115436553497069</c:v>
                </c:pt>
                <c:pt idx="6">
                  <c:v>3.1867767979014721</c:v>
                </c:pt>
                <c:pt idx="7">
                  <c:v>3.2893579411293952</c:v>
                </c:pt>
                <c:pt idx="8">
                  <c:v>3.0248394835742101</c:v>
                </c:pt>
                <c:pt idx="9">
                  <c:v>3.2530527033936179</c:v>
                </c:pt>
                <c:pt idx="10">
                  <c:v>3.100479853064825</c:v>
                </c:pt>
                <c:pt idx="11">
                  <c:v>2.9323136900097819</c:v>
                </c:pt>
                <c:pt idx="12">
                  <c:v>3.2278446708946031</c:v>
                </c:pt>
                <c:pt idx="13">
                  <c:v>3.581541968447727</c:v>
                </c:pt>
                <c:pt idx="14">
                  <c:v>3.0216540314169409</c:v>
                </c:pt>
                <c:pt idx="15">
                  <c:v>3.1342779528827709</c:v>
                </c:pt>
                <c:pt idx="16">
                  <c:v>3.116866452702924</c:v>
                </c:pt>
                <c:pt idx="17">
                  <c:v>2.9115436553497069</c:v>
                </c:pt>
                <c:pt idx="18">
                  <c:v>3.1867767979014721</c:v>
                </c:pt>
                <c:pt idx="19">
                  <c:v>3.2893579411293952</c:v>
                </c:pt>
                <c:pt idx="20">
                  <c:v>3.0248394835742101</c:v>
                </c:pt>
                <c:pt idx="21">
                  <c:v>3.2530527033936179</c:v>
                </c:pt>
                <c:pt idx="22">
                  <c:v>3.100479853064825</c:v>
                </c:pt>
                <c:pt idx="23">
                  <c:v>2.93231369000978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FEF-45A3-AF7E-81F03622E30C}"/>
            </c:ext>
          </c:extLst>
        </c:ser>
        <c:ser>
          <c:idx val="0"/>
          <c:order val="2"/>
          <c:tx>
            <c:strRef>
              <c:f>Sheet1!$A$4</c:f>
              <c:strCache>
                <c:ptCount val="1"/>
                <c:pt idx="0">
                  <c:v>Molecule 3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1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4:$Y$4</c:f>
              <c:numCache>
                <c:formatCode>0.0</c:formatCode>
                <c:ptCount val="24"/>
                <c:pt idx="0">
                  <c:v>1.7847804821175759</c:v>
                </c:pt>
                <c:pt idx="1">
                  <c:v>2.111888947394597</c:v>
                </c:pt>
                <c:pt idx="2">
                  <c:v>1.8388360641427799</c:v>
                </c:pt>
                <c:pt idx="3">
                  <c:v>1.809342480422363</c:v>
                </c:pt>
                <c:pt idx="4">
                  <c:v>1.8850965404279609</c:v>
                </c:pt>
                <c:pt idx="5">
                  <c:v>2.0439093432783011</c:v>
                </c:pt>
                <c:pt idx="6">
                  <c:v>2.0032790270958349</c:v>
                </c:pt>
                <c:pt idx="7">
                  <c:v>2.0617290270597861</c:v>
                </c:pt>
                <c:pt idx="8">
                  <c:v>2.079172443826466</c:v>
                </c:pt>
                <c:pt idx="9">
                  <c:v>2.002013322367743</c:v>
                </c:pt>
                <c:pt idx="10">
                  <c:v>2.0468691250946942</c:v>
                </c:pt>
                <c:pt idx="11">
                  <c:v>2.0618215774310511</c:v>
                </c:pt>
                <c:pt idx="12">
                  <c:v>1.7847804821175759</c:v>
                </c:pt>
                <c:pt idx="13">
                  <c:v>2.111888947394597</c:v>
                </c:pt>
                <c:pt idx="14">
                  <c:v>1.8388360641427799</c:v>
                </c:pt>
                <c:pt idx="15">
                  <c:v>1.809342480422363</c:v>
                </c:pt>
                <c:pt idx="16">
                  <c:v>1.8850965404279609</c:v>
                </c:pt>
                <c:pt idx="17">
                  <c:v>2.0439093432783011</c:v>
                </c:pt>
                <c:pt idx="18">
                  <c:v>2.0032790270958349</c:v>
                </c:pt>
                <c:pt idx="19">
                  <c:v>2.0617290270597861</c:v>
                </c:pt>
                <c:pt idx="20">
                  <c:v>2.079172443826466</c:v>
                </c:pt>
                <c:pt idx="21">
                  <c:v>2.002013322367743</c:v>
                </c:pt>
                <c:pt idx="22">
                  <c:v>2.0468691250946942</c:v>
                </c:pt>
                <c:pt idx="23">
                  <c:v>2.06182157743105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FEF-45A3-AF7E-81F03622E30C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Molecule 4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4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5:$Y$5</c:f>
              <c:numCache>
                <c:formatCode>0.0</c:formatCode>
                <c:ptCount val="24"/>
                <c:pt idx="0">
                  <c:v>1.802197443720859</c:v>
                </c:pt>
                <c:pt idx="1">
                  <c:v>1.926909210732898</c:v>
                </c:pt>
                <c:pt idx="2">
                  <c:v>1.833435665235206</c:v>
                </c:pt>
                <c:pt idx="3">
                  <c:v>1.7826641410930999</c:v>
                </c:pt>
                <c:pt idx="4">
                  <c:v>1.792287523144823</c:v>
                </c:pt>
                <c:pt idx="5">
                  <c:v>1.858171085322661</c:v>
                </c:pt>
                <c:pt idx="6">
                  <c:v>1.7892468639945069</c:v>
                </c:pt>
                <c:pt idx="7">
                  <c:v>1.8455177351331831</c:v>
                </c:pt>
                <c:pt idx="8">
                  <c:v>1.904295498999236</c:v>
                </c:pt>
                <c:pt idx="9">
                  <c:v>1.8534564913513181</c:v>
                </c:pt>
                <c:pt idx="10">
                  <c:v>1.8991475039855359</c:v>
                </c:pt>
                <c:pt idx="11">
                  <c:v>1.86854845571558</c:v>
                </c:pt>
                <c:pt idx="12">
                  <c:v>1.802197443720859</c:v>
                </c:pt>
                <c:pt idx="13">
                  <c:v>1.926909210732898</c:v>
                </c:pt>
                <c:pt idx="14">
                  <c:v>1.833435665235206</c:v>
                </c:pt>
                <c:pt idx="15">
                  <c:v>1.7826641410930999</c:v>
                </c:pt>
                <c:pt idx="16">
                  <c:v>1.792287523144823</c:v>
                </c:pt>
                <c:pt idx="17">
                  <c:v>1.858171085322661</c:v>
                </c:pt>
                <c:pt idx="18">
                  <c:v>1.7892468639945069</c:v>
                </c:pt>
                <c:pt idx="19">
                  <c:v>1.8455177351331831</c:v>
                </c:pt>
                <c:pt idx="20">
                  <c:v>1.904295498999236</c:v>
                </c:pt>
                <c:pt idx="21">
                  <c:v>1.8534564913513181</c:v>
                </c:pt>
                <c:pt idx="22">
                  <c:v>1.8991475039855359</c:v>
                </c:pt>
                <c:pt idx="23">
                  <c:v>1.868548455715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FEF-45A3-AF7E-81F03622E30C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Molecule 5</c:v>
                </c:pt>
              </c:strCache>
            </c:strRef>
          </c:tx>
          <c:spPr>
            <a:ln w="19050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5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6:$Y$6</c:f>
              <c:numCache>
                <c:formatCode>0.0</c:formatCode>
                <c:ptCount val="24"/>
                <c:pt idx="0">
                  <c:v>1.8143248697661101</c:v>
                </c:pt>
                <c:pt idx="1">
                  <c:v>1.927121296416785</c:v>
                </c:pt>
                <c:pt idx="2">
                  <c:v>1.964484491337763</c:v>
                </c:pt>
                <c:pt idx="3">
                  <c:v>1.7177445963905309</c:v>
                </c:pt>
                <c:pt idx="4">
                  <c:v>1.771222322056307</c:v>
                </c:pt>
                <c:pt idx="5">
                  <c:v>1.931888819030217</c:v>
                </c:pt>
                <c:pt idx="6">
                  <c:v>1.8116731196836671</c:v>
                </c:pt>
                <c:pt idx="7">
                  <c:v>1.8112629430438869</c:v>
                </c:pt>
                <c:pt idx="8">
                  <c:v>1.9893948475278911</c:v>
                </c:pt>
                <c:pt idx="9">
                  <c:v>1.7774913331703961</c:v>
                </c:pt>
                <c:pt idx="10">
                  <c:v>1.667622723347691</c:v>
                </c:pt>
                <c:pt idx="11">
                  <c:v>1.5555385458522231</c:v>
                </c:pt>
                <c:pt idx="12">
                  <c:v>1.8143248697661101</c:v>
                </c:pt>
                <c:pt idx="13">
                  <c:v>1.927121296416785</c:v>
                </c:pt>
                <c:pt idx="14">
                  <c:v>1.964484491337763</c:v>
                </c:pt>
                <c:pt idx="15">
                  <c:v>1.7177445963905309</c:v>
                </c:pt>
                <c:pt idx="16">
                  <c:v>1.771222322056307</c:v>
                </c:pt>
                <c:pt idx="17">
                  <c:v>1.931888819030217</c:v>
                </c:pt>
                <c:pt idx="18">
                  <c:v>1.8116731196836671</c:v>
                </c:pt>
                <c:pt idx="19">
                  <c:v>1.8112629430438869</c:v>
                </c:pt>
                <c:pt idx="20">
                  <c:v>1.9893948475278911</c:v>
                </c:pt>
                <c:pt idx="21">
                  <c:v>1.7774913331703961</c:v>
                </c:pt>
                <c:pt idx="22">
                  <c:v>1.667622723347691</c:v>
                </c:pt>
                <c:pt idx="23">
                  <c:v>1.55553854585222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FEF-45A3-AF7E-81F03622E30C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  <c:pt idx="0">
                  <c:v>Molecule 6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6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7:$Y$7</c:f>
              <c:numCache>
                <c:formatCode>0.0</c:formatCode>
                <c:ptCount val="24"/>
                <c:pt idx="0">
                  <c:v>1.191637775159099</c:v>
                </c:pt>
                <c:pt idx="1">
                  <c:v>1.3253380997902049</c:v>
                </c:pt>
                <c:pt idx="2">
                  <c:v>1.353119976573923</c:v>
                </c:pt>
                <c:pt idx="3">
                  <c:v>1.197747126413651</c:v>
                </c:pt>
                <c:pt idx="4">
                  <c:v>1.2445245699690719</c:v>
                </c:pt>
                <c:pt idx="5">
                  <c:v>1.337371296125295</c:v>
                </c:pt>
                <c:pt idx="6">
                  <c:v>1.304545763533308</c:v>
                </c:pt>
                <c:pt idx="7">
                  <c:v>1.3422940824755989</c:v>
                </c:pt>
                <c:pt idx="8">
                  <c:v>1.3514837706473981</c:v>
                </c:pt>
                <c:pt idx="9">
                  <c:v>1.409554791234316</c:v>
                </c:pt>
                <c:pt idx="10">
                  <c:v>1.357508896468413</c:v>
                </c:pt>
                <c:pt idx="11">
                  <c:v>1.2691098429040151</c:v>
                </c:pt>
                <c:pt idx="12">
                  <c:v>1.191637775159099</c:v>
                </c:pt>
                <c:pt idx="13">
                  <c:v>1.3253380997902049</c:v>
                </c:pt>
                <c:pt idx="14">
                  <c:v>1.353119976573923</c:v>
                </c:pt>
                <c:pt idx="15">
                  <c:v>1.197747126413651</c:v>
                </c:pt>
                <c:pt idx="16">
                  <c:v>1.2445245699690719</c:v>
                </c:pt>
                <c:pt idx="17">
                  <c:v>1.337371296125295</c:v>
                </c:pt>
                <c:pt idx="18">
                  <c:v>1.304545763533308</c:v>
                </c:pt>
                <c:pt idx="19">
                  <c:v>1.3422940824755989</c:v>
                </c:pt>
                <c:pt idx="20">
                  <c:v>1.3514837706473981</c:v>
                </c:pt>
                <c:pt idx="21">
                  <c:v>1.409554791234316</c:v>
                </c:pt>
                <c:pt idx="22">
                  <c:v>1.357508896468413</c:v>
                </c:pt>
                <c:pt idx="23">
                  <c:v>1.26910984290401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FEF-45A3-AF7E-81F03622E30C}"/>
            </c:ext>
          </c:extLst>
        </c:ser>
        <c:ser>
          <c:idx val="6"/>
          <c:order val="6"/>
          <c:tx>
            <c:strRef>
              <c:f>Sheet1!$A$8</c:f>
              <c:strCache>
                <c:ptCount val="1"/>
                <c:pt idx="0">
                  <c:v>Molecule 7</c:v>
                </c:pt>
              </c:strCache>
            </c:strRef>
          </c:tx>
          <c:spPr>
            <a:ln w="19050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1">
                    <a:lumMod val="60000"/>
                  </a:schemeClr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8:$Y$8</c:f>
              <c:numCache>
                <c:formatCode>0.0</c:formatCode>
                <c:ptCount val="24"/>
                <c:pt idx="0">
                  <c:v>1.1310414046716619</c:v>
                </c:pt>
                <c:pt idx="1">
                  <c:v>1.2462872344321489</c:v>
                </c:pt>
                <c:pt idx="2">
                  <c:v>1.188060760335933</c:v>
                </c:pt>
                <c:pt idx="3">
                  <c:v>1.146472560793337</c:v>
                </c:pt>
                <c:pt idx="4">
                  <c:v>1.1673670756914569</c:v>
                </c:pt>
                <c:pt idx="5">
                  <c:v>1.2317662926694779</c:v>
                </c:pt>
                <c:pt idx="6">
                  <c:v>1.205745067579912</c:v>
                </c:pt>
                <c:pt idx="7">
                  <c:v>1.279088886555948</c:v>
                </c:pt>
                <c:pt idx="8">
                  <c:v>1.306673226283575</c:v>
                </c:pt>
                <c:pt idx="9">
                  <c:v>1.2355803564088479</c:v>
                </c:pt>
                <c:pt idx="10">
                  <c:v>1.255491984891064</c:v>
                </c:pt>
                <c:pt idx="11">
                  <c:v>1.2830488268451441</c:v>
                </c:pt>
                <c:pt idx="12">
                  <c:v>1.1310414046716619</c:v>
                </c:pt>
                <c:pt idx="13">
                  <c:v>1.2462872344321489</c:v>
                </c:pt>
                <c:pt idx="14">
                  <c:v>1.188060760335933</c:v>
                </c:pt>
                <c:pt idx="15">
                  <c:v>1.146472560793337</c:v>
                </c:pt>
                <c:pt idx="16">
                  <c:v>1.1673670756914569</c:v>
                </c:pt>
                <c:pt idx="17">
                  <c:v>1.2317662926694779</c:v>
                </c:pt>
                <c:pt idx="18">
                  <c:v>1.205745067579912</c:v>
                </c:pt>
                <c:pt idx="19">
                  <c:v>1.279088886555948</c:v>
                </c:pt>
                <c:pt idx="20">
                  <c:v>1.306673226283575</c:v>
                </c:pt>
                <c:pt idx="21">
                  <c:v>1.2355803564088479</c:v>
                </c:pt>
                <c:pt idx="22">
                  <c:v>1.255491984891064</c:v>
                </c:pt>
                <c:pt idx="23">
                  <c:v>1.28304882684514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FFEF-45A3-AF7E-81F03622E30C}"/>
            </c:ext>
          </c:extLst>
        </c:ser>
        <c:ser>
          <c:idx val="7"/>
          <c:order val="7"/>
          <c:tx>
            <c:strRef>
              <c:f>Sheet1!$A$9</c:f>
              <c:strCache>
                <c:ptCount val="1"/>
                <c:pt idx="0">
                  <c:v>Molecule 8</c:v>
                </c:pt>
              </c:strCache>
            </c:strRef>
          </c:tx>
          <c:spPr>
            <a:ln w="19050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2">
                    <a:lumMod val="60000"/>
                  </a:schemeClr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9:$Y$9</c:f>
              <c:numCache>
                <c:formatCode>0.0</c:formatCode>
                <c:ptCount val="24"/>
                <c:pt idx="0">
                  <c:v>0.94644718862103816</c:v>
                </c:pt>
                <c:pt idx="1">
                  <c:v>0.91867780792933462</c:v>
                </c:pt>
                <c:pt idx="2">
                  <c:v>0.99873193058063225</c:v>
                </c:pt>
                <c:pt idx="3">
                  <c:v>0.88104765680278363</c:v>
                </c:pt>
                <c:pt idx="4">
                  <c:v>0.92707552109644908</c:v>
                </c:pt>
                <c:pt idx="5">
                  <c:v>1.047793957003754</c:v>
                </c:pt>
                <c:pt idx="6">
                  <c:v>0.91672532439445265</c:v>
                </c:pt>
                <c:pt idx="7">
                  <c:v>0.95237387648011285</c:v>
                </c:pt>
                <c:pt idx="8">
                  <c:v>1.0457055763565399</c:v>
                </c:pt>
                <c:pt idx="9">
                  <c:v>0.99618968146352871</c:v>
                </c:pt>
                <c:pt idx="10">
                  <c:v>0.92501578762885284</c:v>
                </c:pt>
                <c:pt idx="11">
                  <c:v>0.9608972266945045</c:v>
                </c:pt>
                <c:pt idx="12">
                  <c:v>0.94644718862103816</c:v>
                </c:pt>
                <c:pt idx="13">
                  <c:v>0.91867780792933462</c:v>
                </c:pt>
                <c:pt idx="14">
                  <c:v>0.99873193058063225</c:v>
                </c:pt>
                <c:pt idx="15">
                  <c:v>0.88104765680278363</c:v>
                </c:pt>
                <c:pt idx="16">
                  <c:v>0.92707552109644908</c:v>
                </c:pt>
                <c:pt idx="17">
                  <c:v>1.047793957003754</c:v>
                </c:pt>
                <c:pt idx="18">
                  <c:v>0.91672532439445265</c:v>
                </c:pt>
                <c:pt idx="19">
                  <c:v>0.95237387648011285</c:v>
                </c:pt>
                <c:pt idx="20">
                  <c:v>1.0457055763565399</c:v>
                </c:pt>
                <c:pt idx="21">
                  <c:v>0.99618968146352871</c:v>
                </c:pt>
                <c:pt idx="22">
                  <c:v>0.92501578762885284</c:v>
                </c:pt>
                <c:pt idx="23">
                  <c:v>0.96089722669450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FFEF-45A3-AF7E-81F03622E30C}"/>
            </c:ext>
          </c:extLst>
        </c:ser>
        <c:ser>
          <c:idx val="8"/>
          <c:order val="8"/>
          <c:tx>
            <c:strRef>
              <c:f>Sheet1!$A$10</c:f>
              <c:strCache>
                <c:ptCount val="1"/>
                <c:pt idx="0">
                  <c:v>Molecule 9</c:v>
                </c:pt>
              </c:strCache>
            </c:strRef>
          </c:tx>
          <c:spPr>
            <a:ln w="19050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3">
                    <a:lumMod val="60000"/>
                  </a:schemeClr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10:$Y$10</c:f>
              <c:numCache>
                <c:formatCode>0.0</c:formatCode>
                <c:ptCount val="24"/>
                <c:pt idx="0">
                  <c:v>0.57084972240940424</c:v>
                </c:pt>
                <c:pt idx="1">
                  <c:v>0.59545141869740004</c:v>
                </c:pt>
                <c:pt idx="2">
                  <c:v>0.61879568902477367</c:v>
                </c:pt>
                <c:pt idx="3">
                  <c:v>0.65554244338141121</c:v>
                </c:pt>
                <c:pt idx="4">
                  <c:v>0.69319488184960787</c:v>
                </c:pt>
                <c:pt idx="5">
                  <c:v>0.6886205174012775</c:v>
                </c:pt>
                <c:pt idx="6">
                  <c:v>0.72427565003328553</c:v>
                </c:pt>
                <c:pt idx="7">
                  <c:v>0.72076609675008241</c:v>
                </c:pt>
                <c:pt idx="8">
                  <c:v>0.73456490737579638</c:v>
                </c:pt>
                <c:pt idx="9">
                  <c:v>0.71839276887508263</c:v>
                </c:pt>
                <c:pt idx="10">
                  <c:v>0.7115688644112278</c:v>
                </c:pt>
                <c:pt idx="11">
                  <c:v>0.74217276630032025</c:v>
                </c:pt>
                <c:pt idx="12">
                  <c:v>0.57084972240940424</c:v>
                </c:pt>
                <c:pt idx="13">
                  <c:v>0.59545141869740004</c:v>
                </c:pt>
                <c:pt idx="14">
                  <c:v>0.61879568902477367</c:v>
                </c:pt>
                <c:pt idx="15">
                  <c:v>0.65554244338141121</c:v>
                </c:pt>
                <c:pt idx="16">
                  <c:v>0.69319488184960787</c:v>
                </c:pt>
                <c:pt idx="17">
                  <c:v>0.6886205174012775</c:v>
                </c:pt>
                <c:pt idx="18">
                  <c:v>0.72427565003328553</c:v>
                </c:pt>
                <c:pt idx="19">
                  <c:v>0.72076609675008241</c:v>
                </c:pt>
                <c:pt idx="20">
                  <c:v>0.73456490737579638</c:v>
                </c:pt>
                <c:pt idx="21">
                  <c:v>0.71839276887508263</c:v>
                </c:pt>
                <c:pt idx="22">
                  <c:v>0.7115688644112278</c:v>
                </c:pt>
                <c:pt idx="23">
                  <c:v>0.742172766300320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FFEF-45A3-AF7E-81F03622E30C}"/>
            </c:ext>
          </c:extLst>
        </c:ser>
        <c:ser>
          <c:idx val="9"/>
          <c:order val="9"/>
          <c:tx>
            <c:strRef>
              <c:f>Sheet1!$A$11</c:f>
              <c:strCache>
                <c:ptCount val="1"/>
                <c:pt idx="0">
                  <c:v>Molecule 10</c:v>
                </c:pt>
              </c:strCache>
            </c:strRef>
          </c:tx>
          <c:spPr>
            <a:ln w="19050" cap="rnd">
              <a:solidFill>
                <a:srgbClr val="1482AC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rgbClr val="1482AC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11:$Y$11</c:f>
              <c:numCache>
                <c:formatCode>0.0</c:formatCode>
                <c:ptCount val="24"/>
                <c:pt idx="0">
                  <c:v>0.6412040729748939</c:v>
                </c:pt>
                <c:pt idx="1">
                  <c:v>0.63351079917111608</c:v>
                </c:pt>
                <c:pt idx="2">
                  <c:v>0.5768480301566753</c:v>
                </c:pt>
                <c:pt idx="3">
                  <c:v>0.61365384383555988</c:v>
                </c:pt>
                <c:pt idx="4">
                  <c:v>0.58595849847294246</c:v>
                </c:pt>
                <c:pt idx="5">
                  <c:v>0.62346865751417502</c:v>
                </c:pt>
                <c:pt idx="6">
                  <c:v>0.59299707170810478</c:v>
                </c:pt>
                <c:pt idx="7">
                  <c:v>0.62781903644583481</c:v>
                </c:pt>
                <c:pt idx="8">
                  <c:v>0.64817824689151193</c:v>
                </c:pt>
                <c:pt idx="9">
                  <c:v>0.68020035011213753</c:v>
                </c:pt>
                <c:pt idx="10">
                  <c:v>0.68879940310144538</c:v>
                </c:pt>
                <c:pt idx="11">
                  <c:v>0.65374384701341337</c:v>
                </c:pt>
                <c:pt idx="12">
                  <c:v>0.6412040729748939</c:v>
                </c:pt>
                <c:pt idx="13">
                  <c:v>0.63351079917111608</c:v>
                </c:pt>
                <c:pt idx="14">
                  <c:v>0.5768480301566753</c:v>
                </c:pt>
                <c:pt idx="15">
                  <c:v>0.61365384383555988</c:v>
                </c:pt>
                <c:pt idx="16">
                  <c:v>0.58595849847294246</c:v>
                </c:pt>
                <c:pt idx="17">
                  <c:v>0.62346865751417502</c:v>
                </c:pt>
                <c:pt idx="18">
                  <c:v>0.59299707170810478</c:v>
                </c:pt>
                <c:pt idx="19">
                  <c:v>0.62781903644583481</c:v>
                </c:pt>
                <c:pt idx="20">
                  <c:v>0.64817824689151193</c:v>
                </c:pt>
                <c:pt idx="21">
                  <c:v>0.68020035011213753</c:v>
                </c:pt>
                <c:pt idx="22">
                  <c:v>0.68879940310144538</c:v>
                </c:pt>
                <c:pt idx="23">
                  <c:v>0.653743847013413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FFEF-45A3-AF7E-81F03622E30C}"/>
            </c:ext>
          </c:extLst>
        </c:ser>
        <c:ser>
          <c:idx val="10"/>
          <c:order val="10"/>
          <c:tx>
            <c:strRef>
              <c:f>Sheet1!$A$12</c:f>
              <c:strCache>
                <c:ptCount val="1"/>
                <c:pt idx="0">
                  <c:v>Others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6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12:$Y$12</c:f>
              <c:numCache>
                <c:formatCode>0.0</c:formatCode>
                <c:ptCount val="24"/>
                <c:pt idx="0">
                  <c:v>0.57288930640820601</c:v>
                </c:pt>
                <c:pt idx="1">
                  <c:v>0.60380664275974827</c:v>
                </c:pt>
                <c:pt idx="2">
                  <c:v>0.58587628353508692</c:v>
                </c:pt>
                <c:pt idx="3">
                  <c:v>0.55075661766040274</c:v>
                </c:pt>
                <c:pt idx="4">
                  <c:v>0.56300887777178465</c:v>
                </c:pt>
                <c:pt idx="5">
                  <c:v>0.58863714930102606</c:v>
                </c:pt>
                <c:pt idx="6">
                  <c:v>0.57075511241875698</c:v>
                </c:pt>
                <c:pt idx="7">
                  <c:v>0.57358572447108247</c:v>
                </c:pt>
                <c:pt idx="8">
                  <c:v>0.58915251145581116</c:v>
                </c:pt>
                <c:pt idx="9">
                  <c:v>0.56843944160490156</c:v>
                </c:pt>
                <c:pt idx="10">
                  <c:v>0.58022815339207623</c:v>
                </c:pt>
                <c:pt idx="11">
                  <c:v>0.6104943074891761</c:v>
                </c:pt>
                <c:pt idx="12">
                  <c:v>0.57288930640820601</c:v>
                </c:pt>
                <c:pt idx="13">
                  <c:v>0.60380664275974827</c:v>
                </c:pt>
                <c:pt idx="14">
                  <c:v>0.58587628353508692</c:v>
                </c:pt>
                <c:pt idx="15">
                  <c:v>0.55075661766040274</c:v>
                </c:pt>
                <c:pt idx="16">
                  <c:v>0.56300887777178465</c:v>
                </c:pt>
                <c:pt idx="17">
                  <c:v>0.58863714930102606</c:v>
                </c:pt>
                <c:pt idx="18">
                  <c:v>0.57075511241875698</c:v>
                </c:pt>
                <c:pt idx="19">
                  <c:v>0.57358572447108247</c:v>
                </c:pt>
                <c:pt idx="20">
                  <c:v>0.58915251145581116</c:v>
                </c:pt>
                <c:pt idx="21">
                  <c:v>0.56843944160490156</c:v>
                </c:pt>
                <c:pt idx="22">
                  <c:v>0.58022815339207623</c:v>
                </c:pt>
                <c:pt idx="23">
                  <c:v>0.6104943074891761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A-FFEF-45A3-AF7E-81F03622E3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21906664"/>
        <c:axId val="421907056"/>
        <c:extLst/>
      </c:lineChart>
      <c:catAx>
        <c:axId val="42190666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21907056"/>
        <c:crosses val="autoZero"/>
        <c:auto val="1"/>
        <c:lblAlgn val="ctr"/>
        <c:lblOffset val="100"/>
        <c:noMultiLvlLbl val="0"/>
      </c:catAx>
      <c:valAx>
        <c:axId val="42190705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Volume Share (%)</a:t>
                </a:r>
              </a:p>
            </c:rich>
          </c:tx>
          <c:layout>
            <c:manualLayout>
              <c:xMode val="edge"/>
              <c:yMode val="edge"/>
              <c:x val="6.1916845621570037E-2"/>
              <c:y val="6.8492289299525194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7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#,##0.00_ 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21906664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>
          <a:solidFill>
            <a:schemeClr val="tx1"/>
          </a:solidFill>
          <a:latin typeface="+mn-lt"/>
        </a:defRPr>
      </a:pPr>
      <a:endParaRPr lang="zh-CN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788451443569554"/>
          <c:y val="2.5095208687149397E-2"/>
          <c:w val="0.85096253877356232"/>
          <c:h val="0.45496423241212502"/>
        </c:manualLayout>
      </c:layout>
      <c:lineChart>
        <c:grouping val="standard"/>
        <c:varyColors val="0"/>
        <c:ser>
          <c:idx val="2"/>
          <c:order val="0"/>
          <c:tx>
            <c:strRef>
              <c:f>Sheet1!$A$2</c:f>
              <c:strCache>
                <c:ptCount val="1"/>
                <c:pt idx="0">
                  <c:v>Product 1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3"/>
              </a:solidFill>
              <a:ln w="19050">
                <a:solidFill>
                  <a:schemeClr val="accent3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2:$Y$2</c:f>
              <c:numCache>
                <c:formatCode>0.0</c:formatCode>
                <c:ptCount val="24"/>
                <c:pt idx="0">
                  <c:v>3.3681058007858571</c:v>
                </c:pt>
                <c:pt idx="1">
                  <c:v>3.2782880060910631</c:v>
                </c:pt>
                <c:pt idx="2">
                  <c:v>3.0476069483245198</c:v>
                </c:pt>
                <c:pt idx="3">
                  <c:v>3.034920851669034</c:v>
                </c:pt>
                <c:pt idx="4">
                  <c:v>3.0952222840328991</c:v>
                </c:pt>
                <c:pt idx="5">
                  <c:v>2.8050884580374649</c:v>
                </c:pt>
                <c:pt idx="6">
                  <c:v>3.1006053322974361</c:v>
                </c:pt>
                <c:pt idx="7">
                  <c:v>3.1296643227389591</c:v>
                </c:pt>
                <c:pt idx="8">
                  <c:v>3.1959529893929441</c:v>
                </c:pt>
                <c:pt idx="9">
                  <c:v>3.3524564315141832</c:v>
                </c:pt>
                <c:pt idx="10">
                  <c:v>3.4602927129878531</c:v>
                </c:pt>
                <c:pt idx="11">
                  <c:v>3.0553898735851108</c:v>
                </c:pt>
                <c:pt idx="12">
                  <c:v>3.3681058007858571</c:v>
                </c:pt>
                <c:pt idx="13">
                  <c:v>3.2782880060910631</c:v>
                </c:pt>
                <c:pt idx="14">
                  <c:v>3.0476069483245198</c:v>
                </c:pt>
                <c:pt idx="15">
                  <c:v>3.034920851669034</c:v>
                </c:pt>
                <c:pt idx="16">
                  <c:v>3.0952222840328991</c:v>
                </c:pt>
                <c:pt idx="17">
                  <c:v>2.8050884580374649</c:v>
                </c:pt>
                <c:pt idx="18">
                  <c:v>3.1006053322974361</c:v>
                </c:pt>
                <c:pt idx="19">
                  <c:v>3.1296643227389591</c:v>
                </c:pt>
                <c:pt idx="20">
                  <c:v>3.1959529893929441</c:v>
                </c:pt>
                <c:pt idx="21">
                  <c:v>3.3524564315141832</c:v>
                </c:pt>
                <c:pt idx="22">
                  <c:v>3.4602927129878531</c:v>
                </c:pt>
                <c:pt idx="23">
                  <c:v>3.05538987358511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FEF-45A3-AF7E-81F03622E30C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Product 2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2"/>
              </a:solidFill>
              <a:ln w="19050">
                <a:solidFill>
                  <a:schemeClr val="accent2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3:$Y$3</c:f>
              <c:numCache>
                <c:formatCode>0.0</c:formatCode>
                <c:ptCount val="24"/>
                <c:pt idx="0">
                  <c:v>3.2278446708946031</c:v>
                </c:pt>
                <c:pt idx="1">
                  <c:v>3.581541968447727</c:v>
                </c:pt>
                <c:pt idx="2">
                  <c:v>3.0216540314169409</c:v>
                </c:pt>
                <c:pt idx="3">
                  <c:v>3.1342779528827709</c:v>
                </c:pt>
                <c:pt idx="4">
                  <c:v>3.116866452702924</c:v>
                </c:pt>
                <c:pt idx="5">
                  <c:v>2.9115436553497069</c:v>
                </c:pt>
                <c:pt idx="6">
                  <c:v>3.1867767979014721</c:v>
                </c:pt>
                <c:pt idx="7">
                  <c:v>3.2893579411293952</c:v>
                </c:pt>
                <c:pt idx="8">
                  <c:v>3.0248394835742101</c:v>
                </c:pt>
                <c:pt idx="9">
                  <c:v>3.2530527033936179</c:v>
                </c:pt>
                <c:pt idx="10">
                  <c:v>3.100479853064825</c:v>
                </c:pt>
                <c:pt idx="11">
                  <c:v>2.9323136900097819</c:v>
                </c:pt>
                <c:pt idx="12">
                  <c:v>3.2278446708946031</c:v>
                </c:pt>
                <c:pt idx="13">
                  <c:v>3.581541968447727</c:v>
                </c:pt>
                <c:pt idx="14">
                  <c:v>3.0216540314169409</c:v>
                </c:pt>
                <c:pt idx="15">
                  <c:v>3.1342779528827709</c:v>
                </c:pt>
                <c:pt idx="16">
                  <c:v>3.116866452702924</c:v>
                </c:pt>
                <c:pt idx="17">
                  <c:v>2.9115436553497069</c:v>
                </c:pt>
                <c:pt idx="18">
                  <c:v>3.1867767979014721</c:v>
                </c:pt>
                <c:pt idx="19">
                  <c:v>3.2893579411293952</c:v>
                </c:pt>
                <c:pt idx="20">
                  <c:v>3.0248394835742101</c:v>
                </c:pt>
                <c:pt idx="21">
                  <c:v>3.2530527033936179</c:v>
                </c:pt>
                <c:pt idx="22">
                  <c:v>3.100479853064825</c:v>
                </c:pt>
                <c:pt idx="23">
                  <c:v>2.93231369000978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FEF-45A3-AF7E-81F03622E30C}"/>
            </c:ext>
          </c:extLst>
        </c:ser>
        <c:ser>
          <c:idx val="0"/>
          <c:order val="2"/>
          <c:tx>
            <c:strRef>
              <c:f>Sheet1!$A$4</c:f>
              <c:strCache>
                <c:ptCount val="1"/>
                <c:pt idx="0">
                  <c:v>Product 3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1"/>
              </a:solidFill>
              <a:ln w="19050">
                <a:solidFill>
                  <a:schemeClr val="accent1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4:$Y$4</c:f>
              <c:numCache>
                <c:formatCode>0.0</c:formatCode>
                <c:ptCount val="24"/>
                <c:pt idx="0">
                  <c:v>1.7847804821175759</c:v>
                </c:pt>
                <c:pt idx="1">
                  <c:v>2.111888947394597</c:v>
                </c:pt>
                <c:pt idx="2">
                  <c:v>1.8388360641427799</c:v>
                </c:pt>
                <c:pt idx="3">
                  <c:v>1.809342480422363</c:v>
                </c:pt>
                <c:pt idx="4">
                  <c:v>1.8850965404279609</c:v>
                </c:pt>
                <c:pt idx="5">
                  <c:v>2.0439093432783011</c:v>
                </c:pt>
                <c:pt idx="6">
                  <c:v>2.0032790270958349</c:v>
                </c:pt>
                <c:pt idx="7">
                  <c:v>2.0617290270597861</c:v>
                </c:pt>
                <c:pt idx="8">
                  <c:v>2.079172443826466</c:v>
                </c:pt>
                <c:pt idx="9">
                  <c:v>2.002013322367743</c:v>
                </c:pt>
                <c:pt idx="10">
                  <c:v>2.0468691250946942</c:v>
                </c:pt>
                <c:pt idx="11">
                  <c:v>2.0618215774310511</c:v>
                </c:pt>
                <c:pt idx="12">
                  <c:v>1.7847804821175759</c:v>
                </c:pt>
                <c:pt idx="13">
                  <c:v>2.111888947394597</c:v>
                </c:pt>
                <c:pt idx="14">
                  <c:v>1.8388360641427799</c:v>
                </c:pt>
                <c:pt idx="15">
                  <c:v>1.809342480422363</c:v>
                </c:pt>
                <c:pt idx="16">
                  <c:v>1.8850965404279609</c:v>
                </c:pt>
                <c:pt idx="17">
                  <c:v>2.0439093432783011</c:v>
                </c:pt>
                <c:pt idx="18">
                  <c:v>2.0032790270958349</c:v>
                </c:pt>
                <c:pt idx="19">
                  <c:v>2.0617290270597861</c:v>
                </c:pt>
                <c:pt idx="20">
                  <c:v>2.079172443826466</c:v>
                </c:pt>
                <c:pt idx="21">
                  <c:v>2.002013322367743</c:v>
                </c:pt>
                <c:pt idx="22">
                  <c:v>2.0468691250946942</c:v>
                </c:pt>
                <c:pt idx="23">
                  <c:v>2.06182157743105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FEF-45A3-AF7E-81F03622E30C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Product 4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4"/>
              </a:solidFill>
              <a:ln w="19050">
                <a:solidFill>
                  <a:schemeClr val="accent4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5:$Y$5</c:f>
              <c:numCache>
                <c:formatCode>0.0</c:formatCode>
                <c:ptCount val="24"/>
                <c:pt idx="0">
                  <c:v>1.802197443720859</c:v>
                </c:pt>
                <c:pt idx="1">
                  <c:v>1.926909210732898</c:v>
                </c:pt>
                <c:pt idx="2">
                  <c:v>1.833435665235206</c:v>
                </c:pt>
                <c:pt idx="3">
                  <c:v>1.7826641410930999</c:v>
                </c:pt>
                <c:pt idx="4">
                  <c:v>1.792287523144823</c:v>
                </c:pt>
                <c:pt idx="5">
                  <c:v>1.858171085322661</c:v>
                </c:pt>
                <c:pt idx="6">
                  <c:v>1.7892468639945069</c:v>
                </c:pt>
                <c:pt idx="7">
                  <c:v>1.8455177351331831</c:v>
                </c:pt>
                <c:pt idx="8">
                  <c:v>1.904295498999236</c:v>
                </c:pt>
                <c:pt idx="9">
                  <c:v>1.8534564913513181</c:v>
                </c:pt>
                <c:pt idx="10">
                  <c:v>1.8991475039855359</c:v>
                </c:pt>
                <c:pt idx="11">
                  <c:v>1.86854845571558</c:v>
                </c:pt>
                <c:pt idx="12">
                  <c:v>1.802197443720859</c:v>
                </c:pt>
                <c:pt idx="13">
                  <c:v>1.926909210732898</c:v>
                </c:pt>
                <c:pt idx="14">
                  <c:v>1.833435665235206</c:v>
                </c:pt>
                <c:pt idx="15">
                  <c:v>1.7826641410930999</c:v>
                </c:pt>
                <c:pt idx="16">
                  <c:v>1.792287523144823</c:v>
                </c:pt>
                <c:pt idx="17">
                  <c:v>1.858171085322661</c:v>
                </c:pt>
                <c:pt idx="18">
                  <c:v>1.7892468639945069</c:v>
                </c:pt>
                <c:pt idx="19">
                  <c:v>1.8455177351331831</c:v>
                </c:pt>
                <c:pt idx="20">
                  <c:v>1.904295498999236</c:v>
                </c:pt>
                <c:pt idx="21">
                  <c:v>1.8534564913513181</c:v>
                </c:pt>
                <c:pt idx="22">
                  <c:v>1.8991475039855359</c:v>
                </c:pt>
                <c:pt idx="23">
                  <c:v>1.868548455715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FEF-45A3-AF7E-81F03622E30C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Product 5</c:v>
                </c:pt>
              </c:strCache>
            </c:strRef>
          </c:tx>
          <c:spPr>
            <a:ln w="19050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5"/>
              </a:solidFill>
              <a:ln w="19050">
                <a:solidFill>
                  <a:schemeClr val="accent5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6:$Y$6</c:f>
              <c:numCache>
                <c:formatCode>0.0</c:formatCode>
                <c:ptCount val="24"/>
                <c:pt idx="0">
                  <c:v>1.8143248697661101</c:v>
                </c:pt>
                <c:pt idx="1">
                  <c:v>1.927121296416785</c:v>
                </c:pt>
                <c:pt idx="2">
                  <c:v>1.964484491337763</c:v>
                </c:pt>
                <c:pt idx="3">
                  <c:v>1.7177445963905309</c:v>
                </c:pt>
                <c:pt idx="4">
                  <c:v>1.771222322056307</c:v>
                </c:pt>
                <c:pt idx="5">
                  <c:v>1.931888819030217</c:v>
                </c:pt>
                <c:pt idx="6">
                  <c:v>1.8116731196836671</c:v>
                </c:pt>
                <c:pt idx="7">
                  <c:v>1.8112629430438869</c:v>
                </c:pt>
                <c:pt idx="8">
                  <c:v>1.9893948475278911</c:v>
                </c:pt>
                <c:pt idx="9">
                  <c:v>1.7774913331703961</c:v>
                </c:pt>
                <c:pt idx="10">
                  <c:v>1.667622723347691</c:v>
                </c:pt>
                <c:pt idx="11">
                  <c:v>1.5555385458522231</c:v>
                </c:pt>
                <c:pt idx="12">
                  <c:v>1.8143248697661101</c:v>
                </c:pt>
                <c:pt idx="13">
                  <c:v>1.927121296416785</c:v>
                </c:pt>
                <c:pt idx="14">
                  <c:v>1.964484491337763</c:v>
                </c:pt>
                <c:pt idx="15">
                  <c:v>1.7177445963905309</c:v>
                </c:pt>
                <c:pt idx="16">
                  <c:v>1.771222322056307</c:v>
                </c:pt>
                <c:pt idx="17">
                  <c:v>1.931888819030217</c:v>
                </c:pt>
                <c:pt idx="18">
                  <c:v>1.8116731196836671</c:v>
                </c:pt>
                <c:pt idx="19">
                  <c:v>1.8112629430438869</c:v>
                </c:pt>
                <c:pt idx="20">
                  <c:v>1.9893948475278911</c:v>
                </c:pt>
                <c:pt idx="21">
                  <c:v>1.7774913331703961</c:v>
                </c:pt>
                <c:pt idx="22">
                  <c:v>1.667622723347691</c:v>
                </c:pt>
                <c:pt idx="23">
                  <c:v>1.55553854585222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FEF-45A3-AF7E-81F03622E30C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  <c:pt idx="0">
                  <c:v>Product 6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6"/>
              </a:solidFill>
              <a:ln w="19050">
                <a:solidFill>
                  <a:schemeClr val="accent6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7:$Y$7</c:f>
              <c:numCache>
                <c:formatCode>0.0</c:formatCode>
                <c:ptCount val="24"/>
                <c:pt idx="0">
                  <c:v>1.191637775159099</c:v>
                </c:pt>
                <c:pt idx="1">
                  <c:v>1.3253380997902049</c:v>
                </c:pt>
                <c:pt idx="2">
                  <c:v>1.353119976573923</c:v>
                </c:pt>
                <c:pt idx="3">
                  <c:v>1.197747126413651</c:v>
                </c:pt>
                <c:pt idx="4">
                  <c:v>1.2445245699690719</c:v>
                </c:pt>
                <c:pt idx="5">
                  <c:v>1.337371296125295</c:v>
                </c:pt>
                <c:pt idx="6">
                  <c:v>1.304545763533308</c:v>
                </c:pt>
                <c:pt idx="7">
                  <c:v>1.3422940824755989</c:v>
                </c:pt>
                <c:pt idx="8">
                  <c:v>1.3514837706473981</c:v>
                </c:pt>
                <c:pt idx="9">
                  <c:v>1.409554791234316</c:v>
                </c:pt>
                <c:pt idx="10">
                  <c:v>1.357508896468413</c:v>
                </c:pt>
                <c:pt idx="11">
                  <c:v>1.2691098429040151</c:v>
                </c:pt>
                <c:pt idx="12">
                  <c:v>1.191637775159099</c:v>
                </c:pt>
                <c:pt idx="13">
                  <c:v>1.3253380997902049</c:v>
                </c:pt>
                <c:pt idx="14">
                  <c:v>1.353119976573923</c:v>
                </c:pt>
                <c:pt idx="15">
                  <c:v>1.197747126413651</c:v>
                </c:pt>
                <c:pt idx="16">
                  <c:v>1.2445245699690719</c:v>
                </c:pt>
                <c:pt idx="17">
                  <c:v>1.337371296125295</c:v>
                </c:pt>
                <c:pt idx="18">
                  <c:v>1.304545763533308</c:v>
                </c:pt>
                <c:pt idx="19">
                  <c:v>1.3422940824755989</c:v>
                </c:pt>
                <c:pt idx="20">
                  <c:v>1.3514837706473981</c:v>
                </c:pt>
                <c:pt idx="21">
                  <c:v>1.409554791234316</c:v>
                </c:pt>
                <c:pt idx="22">
                  <c:v>1.357508896468413</c:v>
                </c:pt>
                <c:pt idx="23">
                  <c:v>1.26910984290401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FEF-45A3-AF7E-81F03622E30C}"/>
            </c:ext>
          </c:extLst>
        </c:ser>
        <c:ser>
          <c:idx val="6"/>
          <c:order val="6"/>
          <c:tx>
            <c:strRef>
              <c:f>Sheet1!$A$8</c:f>
              <c:strCache>
                <c:ptCount val="1"/>
                <c:pt idx="0">
                  <c:v>Product 7</c:v>
                </c:pt>
              </c:strCache>
            </c:strRef>
          </c:tx>
          <c:spPr>
            <a:ln w="19050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accent1">
                    <a:lumMod val="60000"/>
                  </a:schemeClr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8:$Y$8</c:f>
              <c:numCache>
                <c:formatCode>0.0</c:formatCode>
                <c:ptCount val="24"/>
                <c:pt idx="0">
                  <c:v>1.1310414046716619</c:v>
                </c:pt>
                <c:pt idx="1">
                  <c:v>1.2462872344321489</c:v>
                </c:pt>
                <c:pt idx="2">
                  <c:v>1.188060760335933</c:v>
                </c:pt>
                <c:pt idx="3">
                  <c:v>1.146472560793337</c:v>
                </c:pt>
                <c:pt idx="4">
                  <c:v>1.1673670756914569</c:v>
                </c:pt>
                <c:pt idx="5">
                  <c:v>1.2317662926694779</c:v>
                </c:pt>
                <c:pt idx="6">
                  <c:v>1.205745067579912</c:v>
                </c:pt>
                <c:pt idx="7">
                  <c:v>1.279088886555948</c:v>
                </c:pt>
                <c:pt idx="8">
                  <c:v>1.306673226283575</c:v>
                </c:pt>
                <c:pt idx="9">
                  <c:v>1.2355803564088479</c:v>
                </c:pt>
                <c:pt idx="10">
                  <c:v>1.255491984891064</c:v>
                </c:pt>
                <c:pt idx="11">
                  <c:v>1.2830488268451441</c:v>
                </c:pt>
                <c:pt idx="12">
                  <c:v>1.1310414046716619</c:v>
                </c:pt>
                <c:pt idx="13">
                  <c:v>1.2462872344321489</c:v>
                </c:pt>
                <c:pt idx="14">
                  <c:v>1.188060760335933</c:v>
                </c:pt>
                <c:pt idx="15">
                  <c:v>1.146472560793337</c:v>
                </c:pt>
                <c:pt idx="16">
                  <c:v>1.1673670756914569</c:v>
                </c:pt>
                <c:pt idx="17">
                  <c:v>1.2317662926694779</c:v>
                </c:pt>
                <c:pt idx="18">
                  <c:v>1.205745067579912</c:v>
                </c:pt>
                <c:pt idx="19">
                  <c:v>1.279088886555948</c:v>
                </c:pt>
                <c:pt idx="20">
                  <c:v>1.306673226283575</c:v>
                </c:pt>
                <c:pt idx="21">
                  <c:v>1.2355803564088479</c:v>
                </c:pt>
                <c:pt idx="22">
                  <c:v>1.255491984891064</c:v>
                </c:pt>
                <c:pt idx="23">
                  <c:v>1.28304882684514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FFEF-45A3-AF7E-81F03622E30C}"/>
            </c:ext>
          </c:extLst>
        </c:ser>
        <c:ser>
          <c:idx val="7"/>
          <c:order val="7"/>
          <c:tx>
            <c:strRef>
              <c:f>Sheet1!$A$9</c:f>
              <c:strCache>
                <c:ptCount val="1"/>
                <c:pt idx="0">
                  <c:v>Product 8</c:v>
                </c:pt>
              </c:strCache>
            </c:strRef>
          </c:tx>
          <c:spPr>
            <a:ln w="19050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accent2">
                    <a:lumMod val="60000"/>
                  </a:schemeClr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9:$Y$9</c:f>
              <c:numCache>
                <c:formatCode>0.0</c:formatCode>
                <c:ptCount val="24"/>
                <c:pt idx="0">
                  <c:v>0.94644718862103816</c:v>
                </c:pt>
                <c:pt idx="1">
                  <c:v>0.91867780792933462</c:v>
                </c:pt>
                <c:pt idx="2">
                  <c:v>0.99873193058063225</c:v>
                </c:pt>
                <c:pt idx="3">
                  <c:v>0.88104765680278363</c:v>
                </c:pt>
                <c:pt idx="4">
                  <c:v>0.92707552109644908</c:v>
                </c:pt>
                <c:pt idx="5">
                  <c:v>1.047793957003754</c:v>
                </c:pt>
                <c:pt idx="6">
                  <c:v>0.91672532439445265</c:v>
                </c:pt>
                <c:pt idx="7">
                  <c:v>0.95237387648011285</c:v>
                </c:pt>
                <c:pt idx="8">
                  <c:v>1.0457055763565399</c:v>
                </c:pt>
                <c:pt idx="9">
                  <c:v>0.99618968146352871</c:v>
                </c:pt>
                <c:pt idx="10">
                  <c:v>0.92501578762885284</c:v>
                </c:pt>
                <c:pt idx="11">
                  <c:v>0.9608972266945045</c:v>
                </c:pt>
                <c:pt idx="12">
                  <c:v>0.94644718862103816</c:v>
                </c:pt>
                <c:pt idx="13">
                  <c:v>0.91867780792933462</c:v>
                </c:pt>
                <c:pt idx="14">
                  <c:v>0.99873193058063225</c:v>
                </c:pt>
                <c:pt idx="15">
                  <c:v>0.88104765680278363</c:v>
                </c:pt>
                <c:pt idx="16">
                  <c:v>0.92707552109644908</c:v>
                </c:pt>
                <c:pt idx="17">
                  <c:v>1.047793957003754</c:v>
                </c:pt>
                <c:pt idx="18">
                  <c:v>0.91672532439445265</c:v>
                </c:pt>
                <c:pt idx="19">
                  <c:v>0.95237387648011285</c:v>
                </c:pt>
                <c:pt idx="20">
                  <c:v>1.0457055763565399</c:v>
                </c:pt>
                <c:pt idx="21">
                  <c:v>0.99618968146352871</c:v>
                </c:pt>
                <c:pt idx="22">
                  <c:v>0.92501578762885284</c:v>
                </c:pt>
                <c:pt idx="23">
                  <c:v>0.96089722669450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FFEF-45A3-AF7E-81F03622E30C}"/>
            </c:ext>
          </c:extLst>
        </c:ser>
        <c:ser>
          <c:idx val="8"/>
          <c:order val="8"/>
          <c:tx>
            <c:strRef>
              <c:f>Sheet1!$A$10</c:f>
              <c:strCache>
                <c:ptCount val="1"/>
                <c:pt idx="0">
                  <c:v>Product 9</c:v>
                </c:pt>
              </c:strCache>
            </c:strRef>
          </c:tx>
          <c:spPr>
            <a:ln w="19050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accent3">
                    <a:lumMod val="60000"/>
                  </a:schemeClr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10:$Y$10</c:f>
              <c:numCache>
                <c:formatCode>0.0</c:formatCode>
                <c:ptCount val="24"/>
                <c:pt idx="0">
                  <c:v>0.57084972240940424</c:v>
                </c:pt>
                <c:pt idx="1">
                  <c:v>0.59545141869740004</c:v>
                </c:pt>
                <c:pt idx="2">
                  <c:v>0.61879568902477367</c:v>
                </c:pt>
                <c:pt idx="3">
                  <c:v>0.65554244338141121</c:v>
                </c:pt>
                <c:pt idx="4">
                  <c:v>0.69319488184960787</c:v>
                </c:pt>
                <c:pt idx="5">
                  <c:v>0.6886205174012775</c:v>
                </c:pt>
                <c:pt idx="6">
                  <c:v>0.72427565003328553</c:v>
                </c:pt>
                <c:pt idx="7">
                  <c:v>0.72076609675008241</c:v>
                </c:pt>
                <c:pt idx="8">
                  <c:v>0.73456490737579638</c:v>
                </c:pt>
                <c:pt idx="9">
                  <c:v>0.71839276887508263</c:v>
                </c:pt>
                <c:pt idx="10">
                  <c:v>0.7115688644112278</c:v>
                </c:pt>
                <c:pt idx="11">
                  <c:v>0.74217276630032025</c:v>
                </c:pt>
                <c:pt idx="12">
                  <c:v>0.57084972240940424</c:v>
                </c:pt>
                <c:pt idx="13">
                  <c:v>0.59545141869740004</c:v>
                </c:pt>
                <c:pt idx="14">
                  <c:v>0.61879568902477367</c:v>
                </c:pt>
                <c:pt idx="15">
                  <c:v>0.65554244338141121</c:v>
                </c:pt>
                <c:pt idx="16">
                  <c:v>0.69319488184960787</c:v>
                </c:pt>
                <c:pt idx="17">
                  <c:v>0.6886205174012775</c:v>
                </c:pt>
                <c:pt idx="18">
                  <c:v>0.72427565003328553</c:v>
                </c:pt>
                <c:pt idx="19">
                  <c:v>0.72076609675008241</c:v>
                </c:pt>
                <c:pt idx="20">
                  <c:v>0.73456490737579638</c:v>
                </c:pt>
                <c:pt idx="21">
                  <c:v>0.71839276887508263</c:v>
                </c:pt>
                <c:pt idx="22">
                  <c:v>0.7115688644112278</c:v>
                </c:pt>
                <c:pt idx="23">
                  <c:v>0.742172766300320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FFEF-45A3-AF7E-81F03622E30C}"/>
            </c:ext>
          </c:extLst>
        </c:ser>
        <c:ser>
          <c:idx val="9"/>
          <c:order val="9"/>
          <c:tx>
            <c:strRef>
              <c:f>Sheet1!$A$11</c:f>
              <c:strCache>
                <c:ptCount val="1"/>
                <c:pt idx="0">
                  <c:v>Product 10</c:v>
                </c:pt>
              </c:strCache>
            </c:strRef>
          </c:tx>
          <c:spPr>
            <a:ln w="19050" cap="rnd">
              <a:solidFill>
                <a:srgbClr val="1482AC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rgbClr val="1482AC"/>
              </a:solidFill>
              <a:ln w="19050">
                <a:solidFill>
                  <a:srgbClr val="1482AC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11:$Y$11</c:f>
              <c:numCache>
                <c:formatCode>0.0</c:formatCode>
                <c:ptCount val="24"/>
                <c:pt idx="0">
                  <c:v>0.6412040729748939</c:v>
                </c:pt>
                <c:pt idx="1">
                  <c:v>0.63351079917111608</c:v>
                </c:pt>
                <c:pt idx="2">
                  <c:v>0.5768480301566753</c:v>
                </c:pt>
                <c:pt idx="3">
                  <c:v>0.61365384383555988</c:v>
                </c:pt>
                <c:pt idx="4">
                  <c:v>0.58595849847294246</c:v>
                </c:pt>
                <c:pt idx="5">
                  <c:v>0.62346865751417502</c:v>
                </c:pt>
                <c:pt idx="6">
                  <c:v>0.59299707170810478</c:v>
                </c:pt>
                <c:pt idx="7">
                  <c:v>0.62781903644583481</c:v>
                </c:pt>
                <c:pt idx="8">
                  <c:v>0.64817824689151193</c:v>
                </c:pt>
                <c:pt idx="9">
                  <c:v>0.68020035011213753</c:v>
                </c:pt>
                <c:pt idx="10">
                  <c:v>0.68879940310144538</c:v>
                </c:pt>
                <c:pt idx="11">
                  <c:v>0.65374384701341337</c:v>
                </c:pt>
                <c:pt idx="12">
                  <c:v>0.6412040729748939</c:v>
                </c:pt>
                <c:pt idx="13">
                  <c:v>0.63351079917111608</c:v>
                </c:pt>
                <c:pt idx="14">
                  <c:v>0.5768480301566753</c:v>
                </c:pt>
                <c:pt idx="15">
                  <c:v>0.61365384383555988</c:v>
                </c:pt>
                <c:pt idx="16">
                  <c:v>0.58595849847294246</c:v>
                </c:pt>
                <c:pt idx="17">
                  <c:v>0.62346865751417502</c:v>
                </c:pt>
                <c:pt idx="18">
                  <c:v>0.59299707170810478</c:v>
                </c:pt>
                <c:pt idx="19">
                  <c:v>0.62781903644583481</c:v>
                </c:pt>
                <c:pt idx="20">
                  <c:v>0.64817824689151193</c:v>
                </c:pt>
                <c:pt idx="21">
                  <c:v>0.68020035011213753</c:v>
                </c:pt>
                <c:pt idx="22">
                  <c:v>0.68879940310144538</c:v>
                </c:pt>
                <c:pt idx="23">
                  <c:v>0.653743847013413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FFEF-45A3-AF7E-81F03622E30C}"/>
            </c:ext>
          </c:extLst>
        </c:ser>
        <c:ser>
          <c:idx val="10"/>
          <c:order val="10"/>
          <c:tx>
            <c:strRef>
              <c:f>Sheet1!$A$12</c:f>
              <c:strCache>
                <c:ptCount val="1"/>
                <c:pt idx="0">
                  <c:v>Others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6"/>
              </a:solidFill>
              <a:ln w="19050">
                <a:solidFill>
                  <a:schemeClr val="accent6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12:$Y$12</c:f>
              <c:numCache>
                <c:formatCode>0.0</c:formatCode>
                <c:ptCount val="24"/>
                <c:pt idx="0">
                  <c:v>0.57288930640820601</c:v>
                </c:pt>
                <c:pt idx="1">
                  <c:v>0.60380664275974827</c:v>
                </c:pt>
                <c:pt idx="2">
                  <c:v>0.58587628353508692</c:v>
                </c:pt>
                <c:pt idx="3">
                  <c:v>0.55075661766040274</c:v>
                </c:pt>
                <c:pt idx="4">
                  <c:v>0.56300887777178465</c:v>
                </c:pt>
                <c:pt idx="5">
                  <c:v>0.58863714930102606</c:v>
                </c:pt>
                <c:pt idx="6">
                  <c:v>0.57075511241875698</c:v>
                </c:pt>
                <c:pt idx="7">
                  <c:v>0.57358572447108247</c:v>
                </c:pt>
                <c:pt idx="8">
                  <c:v>0.58915251145581116</c:v>
                </c:pt>
                <c:pt idx="9">
                  <c:v>0.56843944160490156</c:v>
                </c:pt>
                <c:pt idx="10">
                  <c:v>0.58022815339207623</c:v>
                </c:pt>
                <c:pt idx="11">
                  <c:v>0.6104943074891761</c:v>
                </c:pt>
                <c:pt idx="12">
                  <c:v>0.57288930640820601</c:v>
                </c:pt>
                <c:pt idx="13">
                  <c:v>0.60380664275974827</c:v>
                </c:pt>
                <c:pt idx="14">
                  <c:v>0.58587628353508692</c:v>
                </c:pt>
                <c:pt idx="15">
                  <c:v>0.55075661766040274</c:v>
                </c:pt>
                <c:pt idx="16">
                  <c:v>0.56300887777178465</c:v>
                </c:pt>
                <c:pt idx="17">
                  <c:v>0.58863714930102606</c:v>
                </c:pt>
                <c:pt idx="18">
                  <c:v>0.57075511241875698</c:v>
                </c:pt>
                <c:pt idx="19">
                  <c:v>0.57358572447108247</c:v>
                </c:pt>
                <c:pt idx="20">
                  <c:v>0.58915251145581116</c:v>
                </c:pt>
                <c:pt idx="21">
                  <c:v>0.56843944160490156</c:v>
                </c:pt>
                <c:pt idx="22">
                  <c:v>0.58022815339207623</c:v>
                </c:pt>
                <c:pt idx="23">
                  <c:v>0.6104943074891761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A-FFEF-45A3-AF7E-81F03622E3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21757616"/>
        <c:axId val="521760752"/>
        <c:extLst/>
      </c:lineChart>
      <c:catAx>
        <c:axId val="52175761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1760752"/>
        <c:crosses val="autoZero"/>
        <c:auto val="1"/>
        <c:lblAlgn val="ctr"/>
        <c:lblOffset val="100"/>
        <c:noMultiLvlLbl val="0"/>
      </c:catAx>
      <c:valAx>
        <c:axId val="52176075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Value (</a:t>
                </a:r>
                <a:r>
                  <a:rPr lang="en-US" dirty="0" err="1"/>
                  <a:t>Mn</a:t>
                </a:r>
                <a:r>
                  <a:rPr lang="en-US" dirty="0"/>
                  <a:t>)</a:t>
                </a:r>
              </a:p>
            </c:rich>
          </c:tx>
          <c:layout>
            <c:manualLayout>
              <c:xMode val="edge"/>
              <c:yMode val="edge"/>
              <c:x val="6.1916845621570037E-2"/>
              <c:y val="6.8492289299525194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7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#,##0.00_ 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1757616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>
          <a:solidFill>
            <a:schemeClr val="tx1"/>
          </a:solidFill>
          <a:latin typeface="+mn-lt"/>
        </a:defRPr>
      </a:pPr>
      <a:endParaRPr lang="zh-CN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788451443569554"/>
          <c:y val="2.5095208687149397E-2"/>
          <c:w val="0.85096253877356232"/>
          <c:h val="0.45496423241212502"/>
        </c:manualLayout>
      </c:layout>
      <c:lineChart>
        <c:grouping val="standard"/>
        <c:varyColors val="0"/>
        <c:ser>
          <c:idx val="2"/>
          <c:order val="0"/>
          <c:tx>
            <c:strRef>
              <c:f>Sheet1!$A$2</c:f>
              <c:strCache>
                <c:ptCount val="1"/>
                <c:pt idx="0">
                  <c:v>Product 1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3"/>
              </a:solidFill>
              <a:ln w="19050">
                <a:solidFill>
                  <a:schemeClr val="accent3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2:$Y$2</c:f>
              <c:numCache>
                <c:formatCode>0.0</c:formatCode>
                <c:ptCount val="24"/>
                <c:pt idx="0">
                  <c:v>3.3681058007858571</c:v>
                </c:pt>
                <c:pt idx="1">
                  <c:v>3.2782880060910631</c:v>
                </c:pt>
                <c:pt idx="2">
                  <c:v>3.0476069483245198</c:v>
                </c:pt>
                <c:pt idx="3">
                  <c:v>3.034920851669034</c:v>
                </c:pt>
                <c:pt idx="4">
                  <c:v>3.0952222840328991</c:v>
                </c:pt>
                <c:pt idx="5">
                  <c:v>2.8050884580374649</c:v>
                </c:pt>
                <c:pt idx="6">
                  <c:v>3.1006053322974361</c:v>
                </c:pt>
                <c:pt idx="7">
                  <c:v>3.1296643227389591</c:v>
                </c:pt>
                <c:pt idx="8">
                  <c:v>3.1959529893929441</c:v>
                </c:pt>
                <c:pt idx="9">
                  <c:v>3.3524564315141832</c:v>
                </c:pt>
                <c:pt idx="10">
                  <c:v>3.4602927129878531</c:v>
                </c:pt>
                <c:pt idx="11">
                  <c:v>3.0553898735851108</c:v>
                </c:pt>
                <c:pt idx="12">
                  <c:v>3.3681058007858571</c:v>
                </c:pt>
                <c:pt idx="13">
                  <c:v>3.2782880060910631</c:v>
                </c:pt>
                <c:pt idx="14">
                  <c:v>3.0476069483245198</c:v>
                </c:pt>
                <c:pt idx="15">
                  <c:v>3.034920851669034</c:v>
                </c:pt>
                <c:pt idx="16">
                  <c:v>3.0952222840328991</c:v>
                </c:pt>
                <c:pt idx="17">
                  <c:v>2.8050884580374649</c:v>
                </c:pt>
                <c:pt idx="18">
                  <c:v>3.1006053322974361</c:v>
                </c:pt>
                <c:pt idx="19">
                  <c:v>3.1296643227389591</c:v>
                </c:pt>
                <c:pt idx="20">
                  <c:v>3.1959529893929441</c:v>
                </c:pt>
                <c:pt idx="21">
                  <c:v>3.3524564315141832</c:v>
                </c:pt>
                <c:pt idx="22">
                  <c:v>3.4602927129878531</c:v>
                </c:pt>
                <c:pt idx="23">
                  <c:v>3.05538987358511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FEF-45A3-AF7E-81F03622E30C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Product 2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2"/>
              </a:solidFill>
              <a:ln w="19050">
                <a:solidFill>
                  <a:schemeClr val="accent2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3:$Y$3</c:f>
              <c:numCache>
                <c:formatCode>0.0</c:formatCode>
                <c:ptCount val="24"/>
                <c:pt idx="0">
                  <c:v>3.2278446708946031</c:v>
                </c:pt>
                <c:pt idx="1">
                  <c:v>3.581541968447727</c:v>
                </c:pt>
                <c:pt idx="2">
                  <c:v>3.0216540314169409</c:v>
                </c:pt>
                <c:pt idx="3">
                  <c:v>3.1342779528827709</c:v>
                </c:pt>
                <c:pt idx="4">
                  <c:v>3.116866452702924</c:v>
                </c:pt>
                <c:pt idx="5">
                  <c:v>2.9115436553497069</c:v>
                </c:pt>
                <c:pt idx="6">
                  <c:v>3.1867767979014721</c:v>
                </c:pt>
                <c:pt idx="7">
                  <c:v>3.2893579411293952</c:v>
                </c:pt>
                <c:pt idx="8">
                  <c:v>3.0248394835742101</c:v>
                </c:pt>
                <c:pt idx="9">
                  <c:v>3.2530527033936179</c:v>
                </c:pt>
                <c:pt idx="10">
                  <c:v>3.100479853064825</c:v>
                </c:pt>
                <c:pt idx="11">
                  <c:v>2.9323136900097819</c:v>
                </c:pt>
                <c:pt idx="12">
                  <c:v>3.2278446708946031</c:v>
                </c:pt>
                <c:pt idx="13">
                  <c:v>3.581541968447727</c:v>
                </c:pt>
                <c:pt idx="14">
                  <c:v>3.0216540314169409</c:v>
                </c:pt>
                <c:pt idx="15">
                  <c:v>3.1342779528827709</c:v>
                </c:pt>
                <c:pt idx="16">
                  <c:v>3.116866452702924</c:v>
                </c:pt>
                <c:pt idx="17">
                  <c:v>2.9115436553497069</c:v>
                </c:pt>
                <c:pt idx="18">
                  <c:v>3.1867767979014721</c:v>
                </c:pt>
                <c:pt idx="19">
                  <c:v>3.2893579411293952</c:v>
                </c:pt>
                <c:pt idx="20">
                  <c:v>3.0248394835742101</c:v>
                </c:pt>
                <c:pt idx="21">
                  <c:v>3.2530527033936179</c:v>
                </c:pt>
                <c:pt idx="22">
                  <c:v>3.100479853064825</c:v>
                </c:pt>
                <c:pt idx="23">
                  <c:v>2.93231369000978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FEF-45A3-AF7E-81F03622E30C}"/>
            </c:ext>
          </c:extLst>
        </c:ser>
        <c:ser>
          <c:idx val="0"/>
          <c:order val="2"/>
          <c:tx>
            <c:strRef>
              <c:f>Sheet1!$A$4</c:f>
              <c:strCache>
                <c:ptCount val="1"/>
                <c:pt idx="0">
                  <c:v>Product 3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1"/>
              </a:solidFill>
              <a:ln w="19050">
                <a:solidFill>
                  <a:schemeClr val="accent1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4:$Y$4</c:f>
              <c:numCache>
                <c:formatCode>0.0</c:formatCode>
                <c:ptCount val="24"/>
                <c:pt idx="0">
                  <c:v>1.7847804821175759</c:v>
                </c:pt>
                <c:pt idx="1">
                  <c:v>2.111888947394597</c:v>
                </c:pt>
                <c:pt idx="2">
                  <c:v>1.8388360641427799</c:v>
                </c:pt>
                <c:pt idx="3">
                  <c:v>1.809342480422363</c:v>
                </c:pt>
                <c:pt idx="4">
                  <c:v>1.8850965404279609</c:v>
                </c:pt>
                <c:pt idx="5">
                  <c:v>2.0439093432783011</c:v>
                </c:pt>
                <c:pt idx="6">
                  <c:v>2.0032790270958349</c:v>
                </c:pt>
                <c:pt idx="7">
                  <c:v>2.0617290270597861</c:v>
                </c:pt>
                <c:pt idx="8">
                  <c:v>2.079172443826466</c:v>
                </c:pt>
                <c:pt idx="9">
                  <c:v>2.002013322367743</c:v>
                </c:pt>
                <c:pt idx="10">
                  <c:v>2.0468691250946942</c:v>
                </c:pt>
                <c:pt idx="11">
                  <c:v>2.0618215774310511</c:v>
                </c:pt>
                <c:pt idx="12">
                  <c:v>1.7847804821175759</c:v>
                </c:pt>
                <c:pt idx="13">
                  <c:v>2.111888947394597</c:v>
                </c:pt>
                <c:pt idx="14">
                  <c:v>1.8388360641427799</c:v>
                </c:pt>
                <c:pt idx="15">
                  <c:v>1.809342480422363</c:v>
                </c:pt>
                <c:pt idx="16">
                  <c:v>1.8850965404279609</c:v>
                </c:pt>
                <c:pt idx="17">
                  <c:v>2.0439093432783011</c:v>
                </c:pt>
                <c:pt idx="18">
                  <c:v>2.0032790270958349</c:v>
                </c:pt>
                <c:pt idx="19">
                  <c:v>2.0617290270597861</c:v>
                </c:pt>
                <c:pt idx="20">
                  <c:v>2.079172443826466</c:v>
                </c:pt>
                <c:pt idx="21">
                  <c:v>2.002013322367743</c:v>
                </c:pt>
                <c:pt idx="22">
                  <c:v>2.0468691250946942</c:v>
                </c:pt>
                <c:pt idx="23">
                  <c:v>2.06182157743105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FEF-45A3-AF7E-81F03622E30C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Product 4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4"/>
              </a:solidFill>
              <a:ln w="19050">
                <a:solidFill>
                  <a:schemeClr val="accent4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5:$Y$5</c:f>
              <c:numCache>
                <c:formatCode>0.0</c:formatCode>
                <c:ptCount val="24"/>
                <c:pt idx="0">
                  <c:v>1.802197443720859</c:v>
                </c:pt>
                <c:pt idx="1">
                  <c:v>1.926909210732898</c:v>
                </c:pt>
                <c:pt idx="2">
                  <c:v>1.833435665235206</c:v>
                </c:pt>
                <c:pt idx="3">
                  <c:v>1.7826641410930999</c:v>
                </c:pt>
                <c:pt idx="4">
                  <c:v>1.792287523144823</c:v>
                </c:pt>
                <c:pt idx="5">
                  <c:v>1.858171085322661</c:v>
                </c:pt>
                <c:pt idx="6">
                  <c:v>1.7892468639945069</c:v>
                </c:pt>
                <c:pt idx="7">
                  <c:v>1.8455177351331831</c:v>
                </c:pt>
                <c:pt idx="8">
                  <c:v>1.904295498999236</c:v>
                </c:pt>
                <c:pt idx="9">
                  <c:v>1.8534564913513181</c:v>
                </c:pt>
                <c:pt idx="10">
                  <c:v>1.8991475039855359</c:v>
                </c:pt>
                <c:pt idx="11">
                  <c:v>1.86854845571558</c:v>
                </c:pt>
                <c:pt idx="12">
                  <c:v>1.802197443720859</c:v>
                </c:pt>
                <c:pt idx="13">
                  <c:v>1.926909210732898</c:v>
                </c:pt>
                <c:pt idx="14">
                  <c:v>1.833435665235206</c:v>
                </c:pt>
                <c:pt idx="15">
                  <c:v>1.7826641410930999</c:v>
                </c:pt>
                <c:pt idx="16">
                  <c:v>1.792287523144823</c:v>
                </c:pt>
                <c:pt idx="17">
                  <c:v>1.858171085322661</c:v>
                </c:pt>
                <c:pt idx="18">
                  <c:v>1.7892468639945069</c:v>
                </c:pt>
                <c:pt idx="19">
                  <c:v>1.8455177351331831</c:v>
                </c:pt>
                <c:pt idx="20">
                  <c:v>1.904295498999236</c:v>
                </c:pt>
                <c:pt idx="21">
                  <c:v>1.8534564913513181</c:v>
                </c:pt>
                <c:pt idx="22">
                  <c:v>1.8991475039855359</c:v>
                </c:pt>
                <c:pt idx="23">
                  <c:v>1.868548455715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FEF-45A3-AF7E-81F03622E30C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Product 5</c:v>
                </c:pt>
              </c:strCache>
            </c:strRef>
          </c:tx>
          <c:spPr>
            <a:ln w="19050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5"/>
              </a:solidFill>
              <a:ln w="19050">
                <a:solidFill>
                  <a:schemeClr val="accent5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6:$Y$6</c:f>
              <c:numCache>
                <c:formatCode>0.0</c:formatCode>
                <c:ptCount val="24"/>
                <c:pt idx="0">
                  <c:v>1.8143248697661101</c:v>
                </c:pt>
                <c:pt idx="1">
                  <c:v>1.927121296416785</c:v>
                </c:pt>
                <c:pt idx="2">
                  <c:v>1.964484491337763</c:v>
                </c:pt>
                <c:pt idx="3">
                  <c:v>1.7177445963905309</c:v>
                </c:pt>
                <c:pt idx="4">
                  <c:v>1.771222322056307</c:v>
                </c:pt>
                <c:pt idx="5">
                  <c:v>1.931888819030217</c:v>
                </c:pt>
                <c:pt idx="6">
                  <c:v>1.8116731196836671</c:v>
                </c:pt>
                <c:pt idx="7">
                  <c:v>1.8112629430438869</c:v>
                </c:pt>
                <c:pt idx="8">
                  <c:v>1.9893948475278911</c:v>
                </c:pt>
                <c:pt idx="9">
                  <c:v>1.7774913331703961</c:v>
                </c:pt>
                <c:pt idx="10">
                  <c:v>1.667622723347691</c:v>
                </c:pt>
                <c:pt idx="11">
                  <c:v>1.5555385458522231</c:v>
                </c:pt>
                <c:pt idx="12">
                  <c:v>1.8143248697661101</c:v>
                </c:pt>
                <c:pt idx="13">
                  <c:v>1.927121296416785</c:v>
                </c:pt>
                <c:pt idx="14">
                  <c:v>1.964484491337763</c:v>
                </c:pt>
                <c:pt idx="15">
                  <c:v>1.7177445963905309</c:v>
                </c:pt>
                <c:pt idx="16">
                  <c:v>1.771222322056307</c:v>
                </c:pt>
                <c:pt idx="17">
                  <c:v>1.931888819030217</c:v>
                </c:pt>
                <c:pt idx="18">
                  <c:v>1.8116731196836671</c:v>
                </c:pt>
                <c:pt idx="19">
                  <c:v>1.8112629430438869</c:v>
                </c:pt>
                <c:pt idx="20">
                  <c:v>1.9893948475278911</c:v>
                </c:pt>
                <c:pt idx="21">
                  <c:v>1.7774913331703961</c:v>
                </c:pt>
                <c:pt idx="22">
                  <c:v>1.667622723347691</c:v>
                </c:pt>
                <c:pt idx="23">
                  <c:v>1.55553854585222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FEF-45A3-AF7E-81F03622E30C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  <c:pt idx="0">
                  <c:v>Product 6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6"/>
              </a:solidFill>
              <a:ln w="19050">
                <a:solidFill>
                  <a:schemeClr val="accent6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7:$Y$7</c:f>
              <c:numCache>
                <c:formatCode>0.0</c:formatCode>
                <c:ptCount val="24"/>
                <c:pt idx="0">
                  <c:v>1.191637775159099</c:v>
                </c:pt>
                <c:pt idx="1">
                  <c:v>1.3253380997902049</c:v>
                </c:pt>
                <c:pt idx="2">
                  <c:v>1.353119976573923</c:v>
                </c:pt>
                <c:pt idx="3">
                  <c:v>1.197747126413651</c:v>
                </c:pt>
                <c:pt idx="4">
                  <c:v>1.2445245699690719</c:v>
                </c:pt>
                <c:pt idx="5">
                  <c:v>1.337371296125295</c:v>
                </c:pt>
                <c:pt idx="6">
                  <c:v>1.304545763533308</c:v>
                </c:pt>
                <c:pt idx="7">
                  <c:v>1.3422940824755989</c:v>
                </c:pt>
                <c:pt idx="8">
                  <c:v>1.3514837706473981</c:v>
                </c:pt>
                <c:pt idx="9">
                  <c:v>1.409554791234316</c:v>
                </c:pt>
                <c:pt idx="10">
                  <c:v>1.357508896468413</c:v>
                </c:pt>
                <c:pt idx="11">
                  <c:v>1.2691098429040151</c:v>
                </c:pt>
                <c:pt idx="12">
                  <c:v>1.191637775159099</c:v>
                </c:pt>
                <c:pt idx="13">
                  <c:v>1.3253380997902049</c:v>
                </c:pt>
                <c:pt idx="14">
                  <c:v>1.353119976573923</c:v>
                </c:pt>
                <c:pt idx="15">
                  <c:v>1.197747126413651</c:v>
                </c:pt>
                <c:pt idx="16">
                  <c:v>1.2445245699690719</c:v>
                </c:pt>
                <c:pt idx="17">
                  <c:v>1.337371296125295</c:v>
                </c:pt>
                <c:pt idx="18">
                  <c:v>1.304545763533308</c:v>
                </c:pt>
                <c:pt idx="19">
                  <c:v>1.3422940824755989</c:v>
                </c:pt>
                <c:pt idx="20">
                  <c:v>1.3514837706473981</c:v>
                </c:pt>
                <c:pt idx="21">
                  <c:v>1.409554791234316</c:v>
                </c:pt>
                <c:pt idx="22">
                  <c:v>1.357508896468413</c:v>
                </c:pt>
                <c:pt idx="23">
                  <c:v>1.26910984290401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FEF-45A3-AF7E-81F03622E30C}"/>
            </c:ext>
          </c:extLst>
        </c:ser>
        <c:ser>
          <c:idx val="6"/>
          <c:order val="6"/>
          <c:tx>
            <c:strRef>
              <c:f>Sheet1!$A$8</c:f>
              <c:strCache>
                <c:ptCount val="1"/>
                <c:pt idx="0">
                  <c:v>Product 7</c:v>
                </c:pt>
              </c:strCache>
            </c:strRef>
          </c:tx>
          <c:spPr>
            <a:ln w="19050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accent1">
                    <a:lumMod val="60000"/>
                  </a:schemeClr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8:$Y$8</c:f>
              <c:numCache>
                <c:formatCode>0.0</c:formatCode>
                <c:ptCount val="24"/>
                <c:pt idx="0">
                  <c:v>1.1310414046716619</c:v>
                </c:pt>
                <c:pt idx="1">
                  <c:v>1.2462872344321489</c:v>
                </c:pt>
                <c:pt idx="2">
                  <c:v>1.188060760335933</c:v>
                </c:pt>
                <c:pt idx="3">
                  <c:v>1.146472560793337</c:v>
                </c:pt>
                <c:pt idx="4">
                  <c:v>1.1673670756914569</c:v>
                </c:pt>
                <c:pt idx="5">
                  <c:v>1.2317662926694779</c:v>
                </c:pt>
                <c:pt idx="6">
                  <c:v>1.205745067579912</c:v>
                </c:pt>
                <c:pt idx="7">
                  <c:v>1.279088886555948</c:v>
                </c:pt>
                <c:pt idx="8">
                  <c:v>1.306673226283575</c:v>
                </c:pt>
                <c:pt idx="9">
                  <c:v>1.2355803564088479</c:v>
                </c:pt>
                <c:pt idx="10">
                  <c:v>1.255491984891064</c:v>
                </c:pt>
                <c:pt idx="11">
                  <c:v>1.2830488268451441</c:v>
                </c:pt>
                <c:pt idx="12">
                  <c:v>1.1310414046716619</c:v>
                </c:pt>
                <c:pt idx="13">
                  <c:v>1.2462872344321489</c:v>
                </c:pt>
                <c:pt idx="14">
                  <c:v>1.188060760335933</c:v>
                </c:pt>
                <c:pt idx="15">
                  <c:v>1.146472560793337</c:v>
                </c:pt>
                <c:pt idx="16">
                  <c:v>1.1673670756914569</c:v>
                </c:pt>
                <c:pt idx="17">
                  <c:v>1.2317662926694779</c:v>
                </c:pt>
                <c:pt idx="18">
                  <c:v>1.205745067579912</c:v>
                </c:pt>
                <c:pt idx="19">
                  <c:v>1.279088886555948</c:v>
                </c:pt>
                <c:pt idx="20">
                  <c:v>1.306673226283575</c:v>
                </c:pt>
                <c:pt idx="21">
                  <c:v>1.2355803564088479</c:v>
                </c:pt>
                <c:pt idx="22">
                  <c:v>1.255491984891064</c:v>
                </c:pt>
                <c:pt idx="23">
                  <c:v>1.28304882684514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FFEF-45A3-AF7E-81F03622E30C}"/>
            </c:ext>
          </c:extLst>
        </c:ser>
        <c:ser>
          <c:idx val="7"/>
          <c:order val="7"/>
          <c:tx>
            <c:strRef>
              <c:f>Sheet1!$A$9</c:f>
              <c:strCache>
                <c:ptCount val="1"/>
                <c:pt idx="0">
                  <c:v>Product 8</c:v>
                </c:pt>
              </c:strCache>
            </c:strRef>
          </c:tx>
          <c:spPr>
            <a:ln w="19050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accent2">
                    <a:lumMod val="60000"/>
                  </a:schemeClr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9:$Y$9</c:f>
              <c:numCache>
                <c:formatCode>0.0</c:formatCode>
                <c:ptCount val="24"/>
                <c:pt idx="0">
                  <c:v>0.94644718862103816</c:v>
                </c:pt>
                <c:pt idx="1">
                  <c:v>0.91867780792933462</c:v>
                </c:pt>
                <c:pt idx="2">
                  <c:v>0.99873193058063225</c:v>
                </c:pt>
                <c:pt idx="3">
                  <c:v>0.88104765680278363</c:v>
                </c:pt>
                <c:pt idx="4">
                  <c:v>0.92707552109644908</c:v>
                </c:pt>
                <c:pt idx="5">
                  <c:v>1.047793957003754</c:v>
                </c:pt>
                <c:pt idx="6">
                  <c:v>0.91672532439445265</c:v>
                </c:pt>
                <c:pt idx="7">
                  <c:v>0.95237387648011285</c:v>
                </c:pt>
                <c:pt idx="8">
                  <c:v>1.0457055763565399</c:v>
                </c:pt>
                <c:pt idx="9">
                  <c:v>0.99618968146352871</c:v>
                </c:pt>
                <c:pt idx="10">
                  <c:v>0.92501578762885284</c:v>
                </c:pt>
                <c:pt idx="11">
                  <c:v>0.9608972266945045</c:v>
                </c:pt>
                <c:pt idx="12">
                  <c:v>0.94644718862103816</c:v>
                </c:pt>
                <c:pt idx="13">
                  <c:v>0.91867780792933462</c:v>
                </c:pt>
                <c:pt idx="14">
                  <c:v>0.99873193058063225</c:v>
                </c:pt>
                <c:pt idx="15">
                  <c:v>0.88104765680278363</c:v>
                </c:pt>
                <c:pt idx="16">
                  <c:v>0.92707552109644908</c:v>
                </c:pt>
                <c:pt idx="17">
                  <c:v>1.047793957003754</c:v>
                </c:pt>
                <c:pt idx="18">
                  <c:v>0.91672532439445265</c:v>
                </c:pt>
                <c:pt idx="19">
                  <c:v>0.95237387648011285</c:v>
                </c:pt>
                <c:pt idx="20">
                  <c:v>1.0457055763565399</c:v>
                </c:pt>
                <c:pt idx="21">
                  <c:v>0.99618968146352871</c:v>
                </c:pt>
                <c:pt idx="22">
                  <c:v>0.92501578762885284</c:v>
                </c:pt>
                <c:pt idx="23">
                  <c:v>0.96089722669450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FFEF-45A3-AF7E-81F03622E30C}"/>
            </c:ext>
          </c:extLst>
        </c:ser>
        <c:ser>
          <c:idx val="8"/>
          <c:order val="8"/>
          <c:tx>
            <c:strRef>
              <c:f>Sheet1!$A$10</c:f>
              <c:strCache>
                <c:ptCount val="1"/>
                <c:pt idx="0">
                  <c:v>Product 9</c:v>
                </c:pt>
              </c:strCache>
            </c:strRef>
          </c:tx>
          <c:spPr>
            <a:ln w="19050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accent3">
                    <a:lumMod val="60000"/>
                  </a:schemeClr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10:$Y$10</c:f>
              <c:numCache>
                <c:formatCode>0.0</c:formatCode>
                <c:ptCount val="24"/>
                <c:pt idx="0">
                  <c:v>0.57084972240940424</c:v>
                </c:pt>
                <c:pt idx="1">
                  <c:v>0.59545141869740004</c:v>
                </c:pt>
                <c:pt idx="2">
                  <c:v>0.61879568902477367</c:v>
                </c:pt>
                <c:pt idx="3">
                  <c:v>0.65554244338141121</c:v>
                </c:pt>
                <c:pt idx="4">
                  <c:v>0.69319488184960787</c:v>
                </c:pt>
                <c:pt idx="5">
                  <c:v>0.6886205174012775</c:v>
                </c:pt>
                <c:pt idx="6">
                  <c:v>0.72427565003328553</c:v>
                </c:pt>
                <c:pt idx="7">
                  <c:v>0.72076609675008241</c:v>
                </c:pt>
                <c:pt idx="8">
                  <c:v>0.73456490737579638</c:v>
                </c:pt>
                <c:pt idx="9">
                  <c:v>0.71839276887508263</c:v>
                </c:pt>
                <c:pt idx="10">
                  <c:v>0.7115688644112278</c:v>
                </c:pt>
                <c:pt idx="11">
                  <c:v>0.74217276630032025</c:v>
                </c:pt>
                <c:pt idx="12">
                  <c:v>0.57084972240940424</c:v>
                </c:pt>
                <c:pt idx="13">
                  <c:v>0.59545141869740004</c:v>
                </c:pt>
                <c:pt idx="14">
                  <c:v>0.61879568902477367</c:v>
                </c:pt>
                <c:pt idx="15">
                  <c:v>0.65554244338141121</c:v>
                </c:pt>
                <c:pt idx="16">
                  <c:v>0.69319488184960787</c:v>
                </c:pt>
                <c:pt idx="17">
                  <c:v>0.6886205174012775</c:v>
                </c:pt>
                <c:pt idx="18">
                  <c:v>0.72427565003328553</c:v>
                </c:pt>
                <c:pt idx="19">
                  <c:v>0.72076609675008241</c:v>
                </c:pt>
                <c:pt idx="20">
                  <c:v>0.73456490737579638</c:v>
                </c:pt>
                <c:pt idx="21">
                  <c:v>0.71839276887508263</c:v>
                </c:pt>
                <c:pt idx="22">
                  <c:v>0.7115688644112278</c:v>
                </c:pt>
                <c:pt idx="23">
                  <c:v>0.742172766300320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FFEF-45A3-AF7E-81F03622E30C}"/>
            </c:ext>
          </c:extLst>
        </c:ser>
        <c:ser>
          <c:idx val="9"/>
          <c:order val="9"/>
          <c:tx>
            <c:strRef>
              <c:f>Sheet1!$A$11</c:f>
              <c:strCache>
                <c:ptCount val="1"/>
                <c:pt idx="0">
                  <c:v>Product 10</c:v>
                </c:pt>
              </c:strCache>
            </c:strRef>
          </c:tx>
          <c:spPr>
            <a:ln w="19050" cap="rnd">
              <a:solidFill>
                <a:srgbClr val="1482AC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rgbClr val="1482AC"/>
              </a:solidFill>
              <a:ln w="19050">
                <a:solidFill>
                  <a:srgbClr val="1482AC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11:$Y$11</c:f>
              <c:numCache>
                <c:formatCode>0.0</c:formatCode>
                <c:ptCount val="24"/>
                <c:pt idx="0">
                  <c:v>0.6412040729748939</c:v>
                </c:pt>
                <c:pt idx="1">
                  <c:v>0.63351079917111608</c:v>
                </c:pt>
                <c:pt idx="2">
                  <c:v>0.5768480301566753</c:v>
                </c:pt>
                <c:pt idx="3">
                  <c:v>0.61365384383555988</c:v>
                </c:pt>
                <c:pt idx="4">
                  <c:v>0.58595849847294246</c:v>
                </c:pt>
                <c:pt idx="5">
                  <c:v>0.62346865751417502</c:v>
                </c:pt>
                <c:pt idx="6">
                  <c:v>0.59299707170810478</c:v>
                </c:pt>
                <c:pt idx="7">
                  <c:v>0.62781903644583481</c:v>
                </c:pt>
                <c:pt idx="8">
                  <c:v>0.64817824689151193</c:v>
                </c:pt>
                <c:pt idx="9">
                  <c:v>0.68020035011213753</c:v>
                </c:pt>
                <c:pt idx="10">
                  <c:v>0.68879940310144538</c:v>
                </c:pt>
                <c:pt idx="11">
                  <c:v>0.65374384701341337</c:v>
                </c:pt>
                <c:pt idx="12">
                  <c:v>0.6412040729748939</c:v>
                </c:pt>
                <c:pt idx="13">
                  <c:v>0.63351079917111608</c:v>
                </c:pt>
                <c:pt idx="14">
                  <c:v>0.5768480301566753</c:v>
                </c:pt>
                <c:pt idx="15">
                  <c:v>0.61365384383555988</c:v>
                </c:pt>
                <c:pt idx="16">
                  <c:v>0.58595849847294246</c:v>
                </c:pt>
                <c:pt idx="17">
                  <c:v>0.62346865751417502</c:v>
                </c:pt>
                <c:pt idx="18">
                  <c:v>0.59299707170810478</c:v>
                </c:pt>
                <c:pt idx="19">
                  <c:v>0.62781903644583481</c:v>
                </c:pt>
                <c:pt idx="20">
                  <c:v>0.64817824689151193</c:v>
                </c:pt>
                <c:pt idx="21">
                  <c:v>0.68020035011213753</c:v>
                </c:pt>
                <c:pt idx="22">
                  <c:v>0.68879940310144538</c:v>
                </c:pt>
                <c:pt idx="23">
                  <c:v>0.653743847013413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FFEF-45A3-AF7E-81F03622E30C}"/>
            </c:ext>
          </c:extLst>
        </c:ser>
        <c:ser>
          <c:idx val="10"/>
          <c:order val="10"/>
          <c:tx>
            <c:strRef>
              <c:f>Sheet1!$A$12</c:f>
              <c:strCache>
                <c:ptCount val="1"/>
                <c:pt idx="0">
                  <c:v>Others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6"/>
              </a:solidFill>
              <a:ln w="19050">
                <a:solidFill>
                  <a:schemeClr val="accent6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12:$Y$12</c:f>
              <c:numCache>
                <c:formatCode>0.0</c:formatCode>
                <c:ptCount val="24"/>
                <c:pt idx="0">
                  <c:v>0.57288930640820601</c:v>
                </c:pt>
                <c:pt idx="1">
                  <c:v>0.60380664275974827</c:v>
                </c:pt>
                <c:pt idx="2">
                  <c:v>0.58587628353508692</c:v>
                </c:pt>
                <c:pt idx="3">
                  <c:v>0.55075661766040274</c:v>
                </c:pt>
                <c:pt idx="4">
                  <c:v>0.56300887777178465</c:v>
                </c:pt>
                <c:pt idx="5">
                  <c:v>0.58863714930102606</c:v>
                </c:pt>
                <c:pt idx="6">
                  <c:v>0.57075511241875698</c:v>
                </c:pt>
                <c:pt idx="7">
                  <c:v>0.57358572447108247</c:v>
                </c:pt>
                <c:pt idx="8">
                  <c:v>0.58915251145581116</c:v>
                </c:pt>
                <c:pt idx="9">
                  <c:v>0.56843944160490156</c:v>
                </c:pt>
                <c:pt idx="10">
                  <c:v>0.58022815339207623</c:v>
                </c:pt>
                <c:pt idx="11">
                  <c:v>0.6104943074891761</c:v>
                </c:pt>
                <c:pt idx="12">
                  <c:v>0.57288930640820601</c:v>
                </c:pt>
                <c:pt idx="13">
                  <c:v>0.60380664275974827</c:v>
                </c:pt>
                <c:pt idx="14">
                  <c:v>0.58587628353508692</c:v>
                </c:pt>
                <c:pt idx="15">
                  <c:v>0.55075661766040274</c:v>
                </c:pt>
                <c:pt idx="16">
                  <c:v>0.56300887777178465</c:v>
                </c:pt>
                <c:pt idx="17">
                  <c:v>0.58863714930102606</c:v>
                </c:pt>
                <c:pt idx="18">
                  <c:v>0.57075511241875698</c:v>
                </c:pt>
                <c:pt idx="19">
                  <c:v>0.57358572447108247</c:v>
                </c:pt>
                <c:pt idx="20">
                  <c:v>0.58915251145581116</c:v>
                </c:pt>
                <c:pt idx="21">
                  <c:v>0.56843944160490156</c:v>
                </c:pt>
                <c:pt idx="22">
                  <c:v>0.58022815339207623</c:v>
                </c:pt>
                <c:pt idx="23">
                  <c:v>0.6104943074891761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A-FFEF-45A3-AF7E-81F03622E3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21026432"/>
        <c:axId val="521030352"/>
        <c:extLst/>
      </c:lineChart>
      <c:catAx>
        <c:axId val="52102643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1030352"/>
        <c:crosses val="autoZero"/>
        <c:auto val="1"/>
        <c:lblAlgn val="ctr"/>
        <c:lblOffset val="100"/>
        <c:noMultiLvlLbl val="0"/>
      </c:catAx>
      <c:valAx>
        <c:axId val="52103035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Volume (</a:t>
                </a:r>
                <a:r>
                  <a:rPr lang="en-US" dirty="0" err="1"/>
                  <a:t>Mn</a:t>
                </a:r>
                <a:r>
                  <a:rPr lang="en-US" dirty="0"/>
                  <a:t>)</a:t>
                </a:r>
              </a:p>
            </c:rich>
          </c:tx>
          <c:layout>
            <c:manualLayout>
              <c:xMode val="edge"/>
              <c:yMode val="edge"/>
              <c:x val="6.1916845621570037E-2"/>
              <c:y val="6.8492289299525194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7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#,##0.00_ 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1026432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>
          <a:solidFill>
            <a:schemeClr val="tx1"/>
          </a:solidFill>
          <a:latin typeface="+mn-lt"/>
        </a:defRPr>
      </a:pPr>
      <a:endParaRPr lang="zh-CN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788451443569554"/>
          <c:y val="2.5095208687149397E-2"/>
          <c:w val="0.85096253877356232"/>
          <c:h val="0.45496423241212502"/>
        </c:manualLayout>
      </c:layout>
      <c:lineChart>
        <c:grouping val="standard"/>
        <c:varyColors val="0"/>
        <c:ser>
          <c:idx val="2"/>
          <c:order val="0"/>
          <c:tx>
            <c:strRef>
              <c:f>Sheet1!$A$2</c:f>
              <c:strCache>
                <c:ptCount val="1"/>
                <c:pt idx="0">
                  <c:v>Product 1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3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2:$Y$2</c:f>
              <c:numCache>
                <c:formatCode>0.0</c:formatCode>
                <c:ptCount val="24"/>
                <c:pt idx="0">
                  <c:v>3.3681058007858571</c:v>
                </c:pt>
                <c:pt idx="1">
                  <c:v>3.2782880060910631</c:v>
                </c:pt>
                <c:pt idx="2">
                  <c:v>3.0476069483245198</c:v>
                </c:pt>
                <c:pt idx="3">
                  <c:v>3.034920851669034</c:v>
                </c:pt>
                <c:pt idx="4">
                  <c:v>3.0952222840328991</c:v>
                </c:pt>
                <c:pt idx="5">
                  <c:v>2.8050884580374649</c:v>
                </c:pt>
                <c:pt idx="6">
                  <c:v>3.1006053322974361</c:v>
                </c:pt>
                <c:pt idx="7">
                  <c:v>3.1296643227389591</c:v>
                </c:pt>
                <c:pt idx="8">
                  <c:v>3.1959529893929441</c:v>
                </c:pt>
                <c:pt idx="9">
                  <c:v>3.3524564315141832</c:v>
                </c:pt>
                <c:pt idx="10">
                  <c:v>3.4602927129878531</c:v>
                </c:pt>
                <c:pt idx="11">
                  <c:v>3.0553898735851108</c:v>
                </c:pt>
                <c:pt idx="12">
                  <c:v>3.3681058007858571</c:v>
                </c:pt>
                <c:pt idx="13">
                  <c:v>3.2782880060910631</c:v>
                </c:pt>
                <c:pt idx="14">
                  <c:v>3.0476069483245198</c:v>
                </c:pt>
                <c:pt idx="15">
                  <c:v>3.034920851669034</c:v>
                </c:pt>
                <c:pt idx="16">
                  <c:v>3.0952222840328991</c:v>
                </c:pt>
                <c:pt idx="17">
                  <c:v>2.8050884580374649</c:v>
                </c:pt>
                <c:pt idx="18">
                  <c:v>3.1006053322974361</c:v>
                </c:pt>
                <c:pt idx="19">
                  <c:v>3.1296643227389591</c:v>
                </c:pt>
                <c:pt idx="20">
                  <c:v>3.1959529893929441</c:v>
                </c:pt>
                <c:pt idx="21">
                  <c:v>3.3524564315141832</c:v>
                </c:pt>
                <c:pt idx="22">
                  <c:v>3.4602927129878531</c:v>
                </c:pt>
                <c:pt idx="23">
                  <c:v>3.05538987358511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FEF-45A3-AF7E-81F03622E30C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Product 2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2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3:$Y$3</c:f>
              <c:numCache>
                <c:formatCode>0.0</c:formatCode>
                <c:ptCount val="24"/>
                <c:pt idx="0">
                  <c:v>3.2278446708946031</c:v>
                </c:pt>
                <c:pt idx="1">
                  <c:v>3.581541968447727</c:v>
                </c:pt>
                <c:pt idx="2">
                  <c:v>3.0216540314169409</c:v>
                </c:pt>
                <c:pt idx="3">
                  <c:v>3.1342779528827709</c:v>
                </c:pt>
                <c:pt idx="4">
                  <c:v>3.116866452702924</c:v>
                </c:pt>
                <c:pt idx="5">
                  <c:v>2.9115436553497069</c:v>
                </c:pt>
                <c:pt idx="6">
                  <c:v>3.1867767979014721</c:v>
                </c:pt>
                <c:pt idx="7">
                  <c:v>3.2893579411293952</c:v>
                </c:pt>
                <c:pt idx="8">
                  <c:v>3.0248394835742101</c:v>
                </c:pt>
                <c:pt idx="9">
                  <c:v>3.2530527033936179</c:v>
                </c:pt>
                <c:pt idx="10">
                  <c:v>3.100479853064825</c:v>
                </c:pt>
                <c:pt idx="11">
                  <c:v>2.9323136900097819</c:v>
                </c:pt>
                <c:pt idx="12">
                  <c:v>3.2278446708946031</c:v>
                </c:pt>
                <c:pt idx="13">
                  <c:v>3.581541968447727</c:v>
                </c:pt>
                <c:pt idx="14">
                  <c:v>3.0216540314169409</c:v>
                </c:pt>
                <c:pt idx="15">
                  <c:v>3.1342779528827709</c:v>
                </c:pt>
                <c:pt idx="16">
                  <c:v>3.116866452702924</c:v>
                </c:pt>
                <c:pt idx="17">
                  <c:v>2.9115436553497069</c:v>
                </c:pt>
                <c:pt idx="18">
                  <c:v>3.1867767979014721</c:v>
                </c:pt>
                <c:pt idx="19">
                  <c:v>3.2893579411293952</c:v>
                </c:pt>
                <c:pt idx="20">
                  <c:v>3.0248394835742101</c:v>
                </c:pt>
                <c:pt idx="21">
                  <c:v>3.2530527033936179</c:v>
                </c:pt>
                <c:pt idx="22">
                  <c:v>3.100479853064825</c:v>
                </c:pt>
                <c:pt idx="23">
                  <c:v>2.93231369000978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FEF-45A3-AF7E-81F03622E30C}"/>
            </c:ext>
          </c:extLst>
        </c:ser>
        <c:ser>
          <c:idx val="0"/>
          <c:order val="2"/>
          <c:tx>
            <c:strRef>
              <c:f>Sheet1!$A$4</c:f>
              <c:strCache>
                <c:ptCount val="1"/>
                <c:pt idx="0">
                  <c:v>Product 3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1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4:$Y$4</c:f>
              <c:numCache>
                <c:formatCode>0.0</c:formatCode>
                <c:ptCount val="24"/>
                <c:pt idx="0">
                  <c:v>1.7847804821175759</c:v>
                </c:pt>
                <c:pt idx="1">
                  <c:v>2.111888947394597</c:v>
                </c:pt>
                <c:pt idx="2">
                  <c:v>1.8388360641427799</c:v>
                </c:pt>
                <c:pt idx="3">
                  <c:v>1.809342480422363</c:v>
                </c:pt>
                <c:pt idx="4">
                  <c:v>1.8850965404279609</c:v>
                </c:pt>
                <c:pt idx="5">
                  <c:v>2.0439093432783011</c:v>
                </c:pt>
                <c:pt idx="6">
                  <c:v>2.0032790270958349</c:v>
                </c:pt>
                <c:pt idx="7">
                  <c:v>2.0617290270597861</c:v>
                </c:pt>
                <c:pt idx="8">
                  <c:v>2.079172443826466</c:v>
                </c:pt>
                <c:pt idx="9">
                  <c:v>2.002013322367743</c:v>
                </c:pt>
                <c:pt idx="10">
                  <c:v>2.0468691250946942</c:v>
                </c:pt>
                <c:pt idx="11">
                  <c:v>2.0618215774310511</c:v>
                </c:pt>
                <c:pt idx="12">
                  <c:v>1.7847804821175759</c:v>
                </c:pt>
                <c:pt idx="13">
                  <c:v>2.111888947394597</c:v>
                </c:pt>
                <c:pt idx="14">
                  <c:v>1.8388360641427799</c:v>
                </c:pt>
                <c:pt idx="15">
                  <c:v>1.809342480422363</c:v>
                </c:pt>
                <c:pt idx="16">
                  <c:v>1.8850965404279609</c:v>
                </c:pt>
                <c:pt idx="17">
                  <c:v>2.0439093432783011</c:v>
                </c:pt>
                <c:pt idx="18">
                  <c:v>2.0032790270958349</c:v>
                </c:pt>
                <c:pt idx="19">
                  <c:v>2.0617290270597861</c:v>
                </c:pt>
                <c:pt idx="20">
                  <c:v>2.079172443826466</c:v>
                </c:pt>
                <c:pt idx="21">
                  <c:v>2.002013322367743</c:v>
                </c:pt>
                <c:pt idx="22">
                  <c:v>2.0468691250946942</c:v>
                </c:pt>
                <c:pt idx="23">
                  <c:v>2.06182157743105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FEF-45A3-AF7E-81F03622E30C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Product 4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4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5:$Y$5</c:f>
              <c:numCache>
                <c:formatCode>0.0</c:formatCode>
                <c:ptCount val="24"/>
                <c:pt idx="0">
                  <c:v>1.802197443720859</c:v>
                </c:pt>
                <c:pt idx="1">
                  <c:v>1.926909210732898</c:v>
                </c:pt>
                <c:pt idx="2">
                  <c:v>1.833435665235206</c:v>
                </c:pt>
                <c:pt idx="3">
                  <c:v>1.7826641410930999</c:v>
                </c:pt>
                <c:pt idx="4">
                  <c:v>1.792287523144823</c:v>
                </c:pt>
                <c:pt idx="5">
                  <c:v>1.858171085322661</c:v>
                </c:pt>
                <c:pt idx="6">
                  <c:v>1.7892468639945069</c:v>
                </c:pt>
                <c:pt idx="7">
                  <c:v>1.8455177351331831</c:v>
                </c:pt>
                <c:pt idx="8">
                  <c:v>1.904295498999236</c:v>
                </c:pt>
                <c:pt idx="9">
                  <c:v>1.8534564913513181</c:v>
                </c:pt>
                <c:pt idx="10">
                  <c:v>1.8991475039855359</c:v>
                </c:pt>
                <c:pt idx="11">
                  <c:v>1.86854845571558</c:v>
                </c:pt>
                <c:pt idx="12">
                  <c:v>1.802197443720859</c:v>
                </c:pt>
                <c:pt idx="13">
                  <c:v>1.926909210732898</c:v>
                </c:pt>
                <c:pt idx="14">
                  <c:v>1.833435665235206</c:v>
                </c:pt>
                <c:pt idx="15">
                  <c:v>1.7826641410930999</c:v>
                </c:pt>
                <c:pt idx="16">
                  <c:v>1.792287523144823</c:v>
                </c:pt>
                <c:pt idx="17">
                  <c:v>1.858171085322661</c:v>
                </c:pt>
                <c:pt idx="18">
                  <c:v>1.7892468639945069</c:v>
                </c:pt>
                <c:pt idx="19">
                  <c:v>1.8455177351331831</c:v>
                </c:pt>
                <c:pt idx="20">
                  <c:v>1.904295498999236</c:v>
                </c:pt>
                <c:pt idx="21">
                  <c:v>1.8534564913513181</c:v>
                </c:pt>
                <c:pt idx="22">
                  <c:v>1.8991475039855359</c:v>
                </c:pt>
                <c:pt idx="23">
                  <c:v>1.868548455715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FEF-45A3-AF7E-81F03622E30C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Product 5</c:v>
                </c:pt>
              </c:strCache>
            </c:strRef>
          </c:tx>
          <c:spPr>
            <a:ln w="19050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5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6:$Y$6</c:f>
              <c:numCache>
                <c:formatCode>0.0</c:formatCode>
                <c:ptCount val="24"/>
                <c:pt idx="0">
                  <c:v>1.8143248697661101</c:v>
                </c:pt>
                <c:pt idx="1">
                  <c:v>1.927121296416785</c:v>
                </c:pt>
                <c:pt idx="2">
                  <c:v>1.964484491337763</c:v>
                </c:pt>
                <c:pt idx="3">
                  <c:v>1.7177445963905309</c:v>
                </c:pt>
                <c:pt idx="4">
                  <c:v>1.771222322056307</c:v>
                </c:pt>
                <c:pt idx="5">
                  <c:v>1.931888819030217</c:v>
                </c:pt>
                <c:pt idx="6">
                  <c:v>1.8116731196836671</c:v>
                </c:pt>
                <c:pt idx="7">
                  <c:v>1.8112629430438869</c:v>
                </c:pt>
                <c:pt idx="8">
                  <c:v>1.9893948475278911</c:v>
                </c:pt>
                <c:pt idx="9">
                  <c:v>1.7774913331703961</c:v>
                </c:pt>
                <c:pt idx="10">
                  <c:v>1.667622723347691</c:v>
                </c:pt>
                <c:pt idx="11">
                  <c:v>1.5555385458522231</c:v>
                </c:pt>
                <c:pt idx="12">
                  <c:v>1.8143248697661101</c:v>
                </c:pt>
                <c:pt idx="13">
                  <c:v>1.927121296416785</c:v>
                </c:pt>
                <c:pt idx="14">
                  <c:v>1.964484491337763</c:v>
                </c:pt>
                <c:pt idx="15">
                  <c:v>1.7177445963905309</c:v>
                </c:pt>
                <c:pt idx="16">
                  <c:v>1.771222322056307</c:v>
                </c:pt>
                <c:pt idx="17">
                  <c:v>1.931888819030217</c:v>
                </c:pt>
                <c:pt idx="18">
                  <c:v>1.8116731196836671</c:v>
                </c:pt>
                <c:pt idx="19">
                  <c:v>1.8112629430438869</c:v>
                </c:pt>
                <c:pt idx="20">
                  <c:v>1.9893948475278911</c:v>
                </c:pt>
                <c:pt idx="21">
                  <c:v>1.7774913331703961</c:v>
                </c:pt>
                <c:pt idx="22">
                  <c:v>1.667622723347691</c:v>
                </c:pt>
                <c:pt idx="23">
                  <c:v>1.55553854585222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FEF-45A3-AF7E-81F03622E30C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  <c:pt idx="0">
                  <c:v>Product 6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6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7:$Y$7</c:f>
              <c:numCache>
                <c:formatCode>0.0</c:formatCode>
                <c:ptCount val="24"/>
                <c:pt idx="0">
                  <c:v>1.191637775159099</c:v>
                </c:pt>
                <c:pt idx="1">
                  <c:v>1.3253380997902049</c:v>
                </c:pt>
                <c:pt idx="2">
                  <c:v>1.353119976573923</c:v>
                </c:pt>
                <c:pt idx="3">
                  <c:v>1.197747126413651</c:v>
                </c:pt>
                <c:pt idx="4">
                  <c:v>1.2445245699690719</c:v>
                </c:pt>
                <c:pt idx="5">
                  <c:v>1.337371296125295</c:v>
                </c:pt>
                <c:pt idx="6">
                  <c:v>1.304545763533308</c:v>
                </c:pt>
                <c:pt idx="7">
                  <c:v>1.3422940824755989</c:v>
                </c:pt>
                <c:pt idx="8">
                  <c:v>1.3514837706473981</c:v>
                </c:pt>
                <c:pt idx="9">
                  <c:v>1.409554791234316</c:v>
                </c:pt>
                <c:pt idx="10">
                  <c:v>1.357508896468413</c:v>
                </c:pt>
                <c:pt idx="11">
                  <c:v>1.2691098429040151</c:v>
                </c:pt>
                <c:pt idx="12">
                  <c:v>1.191637775159099</c:v>
                </c:pt>
                <c:pt idx="13">
                  <c:v>1.3253380997902049</c:v>
                </c:pt>
                <c:pt idx="14">
                  <c:v>1.353119976573923</c:v>
                </c:pt>
                <c:pt idx="15">
                  <c:v>1.197747126413651</c:v>
                </c:pt>
                <c:pt idx="16">
                  <c:v>1.2445245699690719</c:v>
                </c:pt>
                <c:pt idx="17">
                  <c:v>1.337371296125295</c:v>
                </c:pt>
                <c:pt idx="18">
                  <c:v>1.304545763533308</c:v>
                </c:pt>
                <c:pt idx="19">
                  <c:v>1.3422940824755989</c:v>
                </c:pt>
                <c:pt idx="20">
                  <c:v>1.3514837706473981</c:v>
                </c:pt>
                <c:pt idx="21">
                  <c:v>1.409554791234316</c:v>
                </c:pt>
                <c:pt idx="22">
                  <c:v>1.357508896468413</c:v>
                </c:pt>
                <c:pt idx="23">
                  <c:v>1.26910984290401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FEF-45A3-AF7E-81F03622E30C}"/>
            </c:ext>
          </c:extLst>
        </c:ser>
        <c:ser>
          <c:idx val="6"/>
          <c:order val="6"/>
          <c:tx>
            <c:strRef>
              <c:f>Sheet1!$A$8</c:f>
              <c:strCache>
                <c:ptCount val="1"/>
                <c:pt idx="0">
                  <c:v>Product 7</c:v>
                </c:pt>
              </c:strCache>
            </c:strRef>
          </c:tx>
          <c:spPr>
            <a:ln w="19050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1">
                    <a:lumMod val="60000"/>
                  </a:schemeClr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8:$Y$8</c:f>
              <c:numCache>
                <c:formatCode>0.0</c:formatCode>
                <c:ptCount val="24"/>
                <c:pt idx="0">
                  <c:v>1.1310414046716619</c:v>
                </c:pt>
                <c:pt idx="1">
                  <c:v>1.2462872344321489</c:v>
                </c:pt>
                <c:pt idx="2">
                  <c:v>1.188060760335933</c:v>
                </c:pt>
                <c:pt idx="3">
                  <c:v>1.146472560793337</c:v>
                </c:pt>
                <c:pt idx="4">
                  <c:v>1.1673670756914569</c:v>
                </c:pt>
                <c:pt idx="5">
                  <c:v>1.2317662926694779</c:v>
                </c:pt>
                <c:pt idx="6">
                  <c:v>1.205745067579912</c:v>
                </c:pt>
                <c:pt idx="7">
                  <c:v>1.279088886555948</c:v>
                </c:pt>
                <c:pt idx="8">
                  <c:v>1.306673226283575</c:v>
                </c:pt>
                <c:pt idx="9">
                  <c:v>1.2355803564088479</c:v>
                </c:pt>
                <c:pt idx="10">
                  <c:v>1.255491984891064</c:v>
                </c:pt>
                <c:pt idx="11">
                  <c:v>1.2830488268451441</c:v>
                </c:pt>
                <c:pt idx="12">
                  <c:v>1.1310414046716619</c:v>
                </c:pt>
                <c:pt idx="13">
                  <c:v>1.2462872344321489</c:v>
                </c:pt>
                <c:pt idx="14">
                  <c:v>1.188060760335933</c:v>
                </c:pt>
                <c:pt idx="15">
                  <c:v>1.146472560793337</c:v>
                </c:pt>
                <c:pt idx="16">
                  <c:v>1.1673670756914569</c:v>
                </c:pt>
                <c:pt idx="17">
                  <c:v>1.2317662926694779</c:v>
                </c:pt>
                <c:pt idx="18">
                  <c:v>1.205745067579912</c:v>
                </c:pt>
                <c:pt idx="19">
                  <c:v>1.279088886555948</c:v>
                </c:pt>
                <c:pt idx="20">
                  <c:v>1.306673226283575</c:v>
                </c:pt>
                <c:pt idx="21">
                  <c:v>1.2355803564088479</c:v>
                </c:pt>
                <c:pt idx="22">
                  <c:v>1.255491984891064</c:v>
                </c:pt>
                <c:pt idx="23">
                  <c:v>1.28304882684514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FFEF-45A3-AF7E-81F03622E30C}"/>
            </c:ext>
          </c:extLst>
        </c:ser>
        <c:ser>
          <c:idx val="7"/>
          <c:order val="7"/>
          <c:tx>
            <c:strRef>
              <c:f>Sheet1!$A$9</c:f>
              <c:strCache>
                <c:ptCount val="1"/>
                <c:pt idx="0">
                  <c:v>Product 8</c:v>
                </c:pt>
              </c:strCache>
            </c:strRef>
          </c:tx>
          <c:spPr>
            <a:ln w="19050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2">
                    <a:lumMod val="60000"/>
                  </a:schemeClr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9:$Y$9</c:f>
              <c:numCache>
                <c:formatCode>0.0</c:formatCode>
                <c:ptCount val="24"/>
                <c:pt idx="0">
                  <c:v>0.94644718862103816</c:v>
                </c:pt>
                <c:pt idx="1">
                  <c:v>0.91867780792933462</c:v>
                </c:pt>
                <c:pt idx="2">
                  <c:v>0.99873193058063225</c:v>
                </c:pt>
                <c:pt idx="3">
                  <c:v>0.88104765680278363</c:v>
                </c:pt>
                <c:pt idx="4">
                  <c:v>0.92707552109644908</c:v>
                </c:pt>
                <c:pt idx="5">
                  <c:v>1.047793957003754</c:v>
                </c:pt>
                <c:pt idx="6">
                  <c:v>0.91672532439445265</c:v>
                </c:pt>
                <c:pt idx="7">
                  <c:v>0.95237387648011285</c:v>
                </c:pt>
                <c:pt idx="8">
                  <c:v>1.0457055763565399</c:v>
                </c:pt>
                <c:pt idx="9">
                  <c:v>0.99618968146352871</c:v>
                </c:pt>
                <c:pt idx="10">
                  <c:v>0.92501578762885284</c:v>
                </c:pt>
                <c:pt idx="11">
                  <c:v>0.9608972266945045</c:v>
                </c:pt>
                <c:pt idx="12">
                  <c:v>0.94644718862103816</c:v>
                </c:pt>
                <c:pt idx="13">
                  <c:v>0.91867780792933462</c:v>
                </c:pt>
                <c:pt idx="14">
                  <c:v>0.99873193058063225</c:v>
                </c:pt>
                <c:pt idx="15">
                  <c:v>0.88104765680278363</c:v>
                </c:pt>
                <c:pt idx="16">
                  <c:v>0.92707552109644908</c:v>
                </c:pt>
                <c:pt idx="17">
                  <c:v>1.047793957003754</c:v>
                </c:pt>
                <c:pt idx="18">
                  <c:v>0.91672532439445265</c:v>
                </c:pt>
                <c:pt idx="19">
                  <c:v>0.95237387648011285</c:v>
                </c:pt>
                <c:pt idx="20">
                  <c:v>1.0457055763565399</c:v>
                </c:pt>
                <c:pt idx="21">
                  <c:v>0.99618968146352871</c:v>
                </c:pt>
                <c:pt idx="22">
                  <c:v>0.92501578762885284</c:v>
                </c:pt>
                <c:pt idx="23">
                  <c:v>0.96089722669450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FFEF-45A3-AF7E-81F03622E30C}"/>
            </c:ext>
          </c:extLst>
        </c:ser>
        <c:ser>
          <c:idx val="8"/>
          <c:order val="8"/>
          <c:tx>
            <c:strRef>
              <c:f>Sheet1!$A$10</c:f>
              <c:strCache>
                <c:ptCount val="1"/>
                <c:pt idx="0">
                  <c:v>Product 9</c:v>
                </c:pt>
              </c:strCache>
            </c:strRef>
          </c:tx>
          <c:spPr>
            <a:ln w="19050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3">
                    <a:lumMod val="60000"/>
                  </a:schemeClr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10:$Y$10</c:f>
              <c:numCache>
                <c:formatCode>0.0</c:formatCode>
                <c:ptCount val="24"/>
                <c:pt idx="0">
                  <c:v>0.57084972240940424</c:v>
                </c:pt>
                <c:pt idx="1">
                  <c:v>0.59545141869740004</c:v>
                </c:pt>
                <c:pt idx="2">
                  <c:v>0.61879568902477367</c:v>
                </c:pt>
                <c:pt idx="3">
                  <c:v>0.65554244338141121</c:v>
                </c:pt>
                <c:pt idx="4">
                  <c:v>0.69319488184960787</c:v>
                </c:pt>
                <c:pt idx="5">
                  <c:v>0.6886205174012775</c:v>
                </c:pt>
                <c:pt idx="6">
                  <c:v>0.72427565003328553</c:v>
                </c:pt>
                <c:pt idx="7">
                  <c:v>0.72076609675008241</c:v>
                </c:pt>
                <c:pt idx="8">
                  <c:v>0.73456490737579638</c:v>
                </c:pt>
                <c:pt idx="9">
                  <c:v>0.71839276887508263</c:v>
                </c:pt>
                <c:pt idx="10">
                  <c:v>0.7115688644112278</c:v>
                </c:pt>
                <c:pt idx="11">
                  <c:v>0.74217276630032025</c:v>
                </c:pt>
                <c:pt idx="12">
                  <c:v>0.57084972240940424</c:v>
                </c:pt>
                <c:pt idx="13">
                  <c:v>0.59545141869740004</c:v>
                </c:pt>
                <c:pt idx="14">
                  <c:v>0.61879568902477367</c:v>
                </c:pt>
                <c:pt idx="15">
                  <c:v>0.65554244338141121</c:v>
                </c:pt>
                <c:pt idx="16">
                  <c:v>0.69319488184960787</c:v>
                </c:pt>
                <c:pt idx="17">
                  <c:v>0.6886205174012775</c:v>
                </c:pt>
                <c:pt idx="18">
                  <c:v>0.72427565003328553</c:v>
                </c:pt>
                <c:pt idx="19">
                  <c:v>0.72076609675008241</c:v>
                </c:pt>
                <c:pt idx="20">
                  <c:v>0.73456490737579638</c:v>
                </c:pt>
                <c:pt idx="21">
                  <c:v>0.71839276887508263</c:v>
                </c:pt>
                <c:pt idx="22">
                  <c:v>0.7115688644112278</c:v>
                </c:pt>
                <c:pt idx="23">
                  <c:v>0.742172766300320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FFEF-45A3-AF7E-81F03622E30C}"/>
            </c:ext>
          </c:extLst>
        </c:ser>
        <c:ser>
          <c:idx val="9"/>
          <c:order val="9"/>
          <c:tx>
            <c:strRef>
              <c:f>Sheet1!$A$11</c:f>
              <c:strCache>
                <c:ptCount val="1"/>
                <c:pt idx="0">
                  <c:v>Product 10</c:v>
                </c:pt>
              </c:strCache>
            </c:strRef>
          </c:tx>
          <c:spPr>
            <a:ln w="19050" cap="rnd">
              <a:solidFill>
                <a:srgbClr val="1482AC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rgbClr val="1482AC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11:$Y$11</c:f>
              <c:numCache>
                <c:formatCode>0.0</c:formatCode>
                <c:ptCount val="24"/>
                <c:pt idx="0">
                  <c:v>0.6412040729748939</c:v>
                </c:pt>
                <c:pt idx="1">
                  <c:v>0.63351079917111608</c:v>
                </c:pt>
                <c:pt idx="2">
                  <c:v>0.5768480301566753</c:v>
                </c:pt>
                <c:pt idx="3">
                  <c:v>0.61365384383555988</c:v>
                </c:pt>
                <c:pt idx="4">
                  <c:v>0.58595849847294246</c:v>
                </c:pt>
                <c:pt idx="5">
                  <c:v>0.62346865751417502</c:v>
                </c:pt>
                <c:pt idx="6">
                  <c:v>0.59299707170810478</c:v>
                </c:pt>
                <c:pt idx="7">
                  <c:v>0.62781903644583481</c:v>
                </c:pt>
                <c:pt idx="8">
                  <c:v>0.64817824689151193</c:v>
                </c:pt>
                <c:pt idx="9">
                  <c:v>0.68020035011213753</c:v>
                </c:pt>
                <c:pt idx="10">
                  <c:v>0.68879940310144538</c:v>
                </c:pt>
                <c:pt idx="11">
                  <c:v>0.65374384701341337</c:v>
                </c:pt>
                <c:pt idx="12">
                  <c:v>0.6412040729748939</c:v>
                </c:pt>
                <c:pt idx="13">
                  <c:v>0.63351079917111608</c:v>
                </c:pt>
                <c:pt idx="14">
                  <c:v>0.5768480301566753</c:v>
                </c:pt>
                <c:pt idx="15">
                  <c:v>0.61365384383555988</c:v>
                </c:pt>
                <c:pt idx="16">
                  <c:v>0.58595849847294246</c:v>
                </c:pt>
                <c:pt idx="17">
                  <c:v>0.62346865751417502</c:v>
                </c:pt>
                <c:pt idx="18">
                  <c:v>0.59299707170810478</c:v>
                </c:pt>
                <c:pt idx="19">
                  <c:v>0.62781903644583481</c:v>
                </c:pt>
                <c:pt idx="20">
                  <c:v>0.64817824689151193</c:v>
                </c:pt>
                <c:pt idx="21">
                  <c:v>0.68020035011213753</c:v>
                </c:pt>
                <c:pt idx="22">
                  <c:v>0.68879940310144538</c:v>
                </c:pt>
                <c:pt idx="23">
                  <c:v>0.653743847013413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FFEF-45A3-AF7E-81F03622E30C}"/>
            </c:ext>
          </c:extLst>
        </c:ser>
        <c:ser>
          <c:idx val="10"/>
          <c:order val="10"/>
          <c:tx>
            <c:strRef>
              <c:f>Sheet1!$A$12</c:f>
              <c:strCache>
                <c:ptCount val="1"/>
                <c:pt idx="0">
                  <c:v>Others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6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12:$Y$12</c:f>
              <c:numCache>
                <c:formatCode>0.0</c:formatCode>
                <c:ptCount val="24"/>
                <c:pt idx="0">
                  <c:v>0.57288930640820601</c:v>
                </c:pt>
                <c:pt idx="1">
                  <c:v>0.60380664275974827</c:v>
                </c:pt>
                <c:pt idx="2">
                  <c:v>0.58587628353508692</c:v>
                </c:pt>
                <c:pt idx="3">
                  <c:v>0.55075661766040274</c:v>
                </c:pt>
                <c:pt idx="4">
                  <c:v>0.56300887777178465</c:v>
                </c:pt>
                <c:pt idx="5">
                  <c:v>0.58863714930102606</c:v>
                </c:pt>
                <c:pt idx="6">
                  <c:v>0.57075511241875698</c:v>
                </c:pt>
                <c:pt idx="7">
                  <c:v>0.57358572447108247</c:v>
                </c:pt>
                <c:pt idx="8">
                  <c:v>0.58915251145581116</c:v>
                </c:pt>
                <c:pt idx="9">
                  <c:v>0.56843944160490156</c:v>
                </c:pt>
                <c:pt idx="10">
                  <c:v>0.58022815339207623</c:v>
                </c:pt>
                <c:pt idx="11">
                  <c:v>0.6104943074891761</c:v>
                </c:pt>
                <c:pt idx="12">
                  <c:v>0.57288930640820601</c:v>
                </c:pt>
                <c:pt idx="13">
                  <c:v>0.60380664275974827</c:v>
                </c:pt>
                <c:pt idx="14">
                  <c:v>0.58587628353508692</c:v>
                </c:pt>
                <c:pt idx="15">
                  <c:v>0.55075661766040274</c:v>
                </c:pt>
                <c:pt idx="16">
                  <c:v>0.56300887777178465</c:v>
                </c:pt>
                <c:pt idx="17">
                  <c:v>0.58863714930102606</c:v>
                </c:pt>
                <c:pt idx="18">
                  <c:v>0.57075511241875698</c:v>
                </c:pt>
                <c:pt idx="19">
                  <c:v>0.57358572447108247</c:v>
                </c:pt>
                <c:pt idx="20">
                  <c:v>0.58915251145581116</c:v>
                </c:pt>
                <c:pt idx="21">
                  <c:v>0.56843944160490156</c:v>
                </c:pt>
                <c:pt idx="22">
                  <c:v>0.58022815339207623</c:v>
                </c:pt>
                <c:pt idx="23">
                  <c:v>0.6104943074891761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A-FFEF-45A3-AF7E-81F03622E3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21018984"/>
        <c:axId val="521019768"/>
        <c:extLst/>
      </c:lineChart>
      <c:catAx>
        <c:axId val="52101898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1019768"/>
        <c:crosses val="autoZero"/>
        <c:auto val="1"/>
        <c:lblAlgn val="ctr"/>
        <c:lblOffset val="100"/>
        <c:noMultiLvlLbl val="0"/>
      </c:catAx>
      <c:valAx>
        <c:axId val="52101976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Value Share (%)</a:t>
                </a:r>
              </a:p>
            </c:rich>
          </c:tx>
          <c:layout>
            <c:manualLayout>
              <c:xMode val="edge"/>
              <c:yMode val="edge"/>
              <c:x val="6.1916845621570037E-2"/>
              <c:y val="6.8492289299525194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7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#,##0.00_ 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1018984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>
          <a:solidFill>
            <a:schemeClr val="tx1"/>
          </a:solidFill>
          <a:latin typeface="+mn-lt"/>
        </a:defRPr>
      </a:pPr>
      <a:endParaRPr lang="zh-CN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788451443569554"/>
          <c:y val="2.5095208687149397E-2"/>
          <c:w val="0.85096253877356232"/>
          <c:h val="0.45496423241212502"/>
        </c:manualLayout>
      </c:layout>
      <c:lineChart>
        <c:grouping val="standard"/>
        <c:varyColors val="0"/>
        <c:ser>
          <c:idx val="2"/>
          <c:order val="0"/>
          <c:tx>
            <c:strRef>
              <c:f>Sheet1!$A$2</c:f>
              <c:strCache>
                <c:ptCount val="1"/>
                <c:pt idx="0">
                  <c:v>Product 1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3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2:$Y$2</c:f>
              <c:numCache>
                <c:formatCode>0.0</c:formatCode>
                <c:ptCount val="24"/>
                <c:pt idx="0">
                  <c:v>3.3681058007858571</c:v>
                </c:pt>
                <c:pt idx="1">
                  <c:v>3.2782880060910631</c:v>
                </c:pt>
                <c:pt idx="2">
                  <c:v>3.0476069483245198</c:v>
                </c:pt>
                <c:pt idx="3">
                  <c:v>3.034920851669034</c:v>
                </c:pt>
                <c:pt idx="4">
                  <c:v>3.0952222840328991</c:v>
                </c:pt>
                <c:pt idx="5">
                  <c:v>2.8050884580374649</c:v>
                </c:pt>
                <c:pt idx="6">
                  <c:v>3.1006053322974361</c:v>
                </c:pt>
                <c:pt idx="7">
                  <c:v>3.1296643227389591</c:v>
                </c:pt>
                <c:pt idx="8">
                  <c:v>3.1959529893929441</c:v>
                </c:pt>
                <c:pt idx="9">
                  <c:v>3.3524564315141832</c:v>
                </c:pt>
                <c:pt idx="10">
                  <c:v>3.4602927129878531</c:v>
                </c:pt>
                <c:pt idx="11">
                  <c:v>3.0553898735851108</c:v>
                </c:pt>
                <c:pt idx="12">
                  <c:v>3.3681058007858571</c:v>
                </c:pt>
                <c:pt idx="13">
                  <c:v>3.2782880060910631</c:v>
                </c:pt>
                <c:pt idx="14">
                  <c:v>3.0476069483245198</c:v>
                </c:pt>
                <c:pt idx="15">
                  <c:v>3.034920851669034</c:v>
                </c:pt>
                <c:pt idx="16">
                  <c:v>3.0952222840328991</c:v>
                </c:pt>
                <c:pt idx="17">
                  <c:v>2.8050884580374649</c:v>
                </c:pt>
                <c:pt idx="18">
                  <c:v>3.1006053322974361</c:v>
                </c:pt>
                <c:pt idx="19">
                  <c:v>3.1296643227389591</c:v>
                </c:pt>
                <c:pt idx="20">
                  <c:v>3.1959529893929441</c:v>
                </c:pt>
                <c:pt idx="21">
                  <c:v>3.3524564315141832</c:v>
                </c:pt>
                <c:pt idx="22">
                  <c:v>3.4602927129878531</c:v>
                </c:pt>
                <c:pt idx="23">
                  <c:v>3.05538987358511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FEF-45A3-AF7E-81F03622E30C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Product 2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2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3:$Y$3</c:f>
              <c:numCache>
                <c:formatCode>0.0</c:formatCode>
                <c:ptCount val="24"/>
                <c:pt idx="0">
                  <c:v>3.2278446708946031</c:v>
                </c:pt>
                <c:pt idx="1">
                  <c:v>3.581541968447727</c:v>
                </c:pt>
                <c:pt idx="2">
                  <c:v>3.0216540314169409</c:v>
                </c:pt>
                <c:pt idx="3">
                  <c:v>3.1342779528827709</c:v>
                </c:pt>
                <c:pt idx="4">
                  <c:v>3.116866452702924</c:v>
                </c:pt>
                <c:pt idx="5">
                  <c:v>2.9115436553497069</c:v>
                </c:pt>
                <c:pt idx="6">
                  <c:v>3.1867767979014721</c:v>
                </c:pt>
                <c:pt idx="7">
                  <c:v>3.2893579411293952</c:v>
                </c:pt>
                <c:pt idx="8">
                  <c:v>3.0248394835742101</c:v>
                </c:pt>
                <c:pt idx="9">
                  <c:v>3.2530527033936179</c:v>
                </c:pt>
                <c:pt idx="10">
                  <c:v>3.100479853064825</c:v>
                </c:pt>
                <c:pt idx="11">
                  <c:v>2.9323136900097819</c:v>
                </c:pt>
                <c:pt idx="12">
                  <c:v>3.2278446708946031</c:v>
                </c:pt>
                <c:pt idx="13">
                  <c:v>3.581541968447727</c:v>
                </c:pt>
                <c:pt idx="14">
                  <c:v>3.0216540314169409</c:v>
                </c:pt>
                <c:pt idx="15">
                  <c:v>3.1342779528827709</c:v>
                </c:pt>
                <c:pt idx="16">
                  <c:v>3.116866452702924</c:v>
                </c:pt>
                <c:pt idx="17">
                  <c:v>2.9115436553497069</c:v>
                </c:pt>
                <c:pt idx="18">
                  <c:v>3.1867767979014721</c:v>
                </c:pt>
                <c:pt idx="19">
                  <c:v>3.2893579411293952</c:v>
                </c:pt>
                <c:pt idx="20">
                  <c:v>3.0248394835742101</c:v>
                </c:pt>
                <c:pt idx="21">
                  <c:v>3.2530527033936179</c:v>
                </c:pt>
                <c:pt idx="22">
                  <c:v>3.100479853064825</c:v>
                </c:pt>
                <c:pt idx="23">
                  <c:v>2.93231369000978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FEF-45A3-AF7E-81F03622E30C}"/>
            </c:ext>
          </c:extLst>
        </c:ser>
        <c:ser>
          <c:idx val="0"/>
          <c:order val="2"/>
          <c:tx>
            <c:strRef>
              <c:f>Sheet1!$A$4</c:f>
              <c:strCache>
                <c:ptCount val="1"/>
                <c:pt idx="0">
                  <c:v>Product 3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1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4:$Y$4</c:f>
              <c:numCache>
                <c:formatCode>0.0</c:formatCode>
                <c:ptCount val="24"/>
                <c:pt idx="0">
                  <c:v>1.7847804821175759</c:v>
                </c:pt>
                <c:pt idx="1">
                  <c:v>2.111888947394597</c:v>
                </c:pt>
                <c:pt idx="2">
                  <c:v>1.8388360641427799</c:v>
                </c:pt>
                <c:pt idx="3">
                  <c:v>1.809342480422363</c:v>
                </c:pt>
                <c:pt idx="4">
                  <c:v>1.8850965404279609</c:v>
                </c:pt>
                <c:pt idx="5">
                  <c:v>2.0439093432783011</c:v>
                </c:pt>
                <c:pt idx="6">
                  <c:v>2.0032790270958349</c:v>
                </c:pt>
                <c:pt idx="7">
                  <c:v>2.0617290270597861</c:v>
                </c:pt>
                <c:pt idx="8">
                  <c:v>2.079172443826466</c:v>
                </c:pt>
                <c:pt idx="9">
                  <c:v>2.002013322367743</c:v>
                </c:pt>
                <c:pt idx="10">
                  <c:v>2.0468691250946942</c:v>
                </c:pt>
                <c:pt idx="11">
                  <c:v>2.0618215774310511</c:v>
                </c:pt>
                <c:pt idx="12">
                  <c:v>1.7847804821175759</c:v>
                </c:pt>
                <c:pt idx="13">
                  <c:v>2.111888947394597</c:v>
                </c:pt>
                <c:pt idx="14">
                  <c:v>1.8388360641427799</c:v>
                </c:pt>
                <c:pt idx="15">
                  <c:v>1.809342480422363</c:v>
                </c:pt>
                <c:pt idx="16">
                  <c:v>1.8850965404279609</c:v>
                </c:pt>
                <c:pt idx="17">
                  <c:v>2.0439093432783011</c:v>
                </c:pt>
                <c:pt idx="18">
                  <c:v>2.0032790270958349</c:v>
                </c:pt>
                <c:pt idx="19">
                  <c:v>2.0617290270597861</c:v>
                </c:pt>
                <c:pt idx="20">
                  <c:v>2.079172443826466</c:v>
                </c:pt>
                <c:pt idx="21">
                  <c:v>2.002013322367743</c:v>
                </c:pt>
                <c:pt idx="22">
                  <c:v>2.0468691250946942</c:v>
                </c:pt>
                <c:pt idx="23">
                  <c:v>2.06182157743105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FEF-45A3-AF7E-81F03622E30C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Product 4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4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5:$Y$5</c:f>
              <c:numCache>
                <c:formatCode>0.0</c:formatCode>
                <c:ptCount val="24"/>
                <c:pt idx="0">
                  <c:v>1.802197443720859</c:v>
                </c:pt>
                <c:pt idx="1">
                  <c:v>1.926909210732898</c:v>
                </c:pt>
                <c:pt idx="2">
                  <c:v>1.833435665235206</c:v>
                </c:pt>
                <c:pt idx="3">
                  <c:v>1.7826641410930999</c:v>
                </c:pt>
                <c:pt idx="4">
                  <c:v>1.792287523144823</c:v>
                </c:pt>
                <c:pt idx="5">
                  <c:v>1.858171085322661</c:v>
                </c:pt>
                <c:pt idx="6">
                  <c:v>1.7892468639945069</c:v>
                </c:pt>
                <c:pt idx="7">
                  <c:v>1.8455177351331831</c:v>
                </c:pt>
                <c:pt idx="8">
                  <c:v>1.904295498999236</c:v>
                </c:pt>
                <c:pt idx="9">
                  <c:v>1.8534564913513181</c:v>
                </c:pt>
                <c:pt idx="10">
                  <c:v>1.8991475039855359</c:v>
                </c:pt>
                <c:pt idx="11">
                  <c:v>1.86854845571558</c:v>
                </c:pt>
                <c:pt idx="12">
                  <c:v>1.802197443720859</c:v>
                </c:pt>
                <c:pt idx="13">
                  <c:v>1.926909210732898</c:v>
                </c:pt>
                <c:pt idx="14">
                  <c:v>1.833435665235206</c:v>
                </c:pt>
                <c:pt idx="15">
                  <c:v>1.7826641410930999</c:v>
                </c:pt>
                <c:pt idx="16">
                  <c:v>1.792287523144823</c:v>
                </c:pt>
                <c:pt idx="17">
                  <c:v>1.858171085322661</c:v>
                </c:pt>
                <c:pt idx="18">
                  <c:v>1.7892468639945069</c:v>
                </c:pt>
                <c:pt idx="19">
                  <c:v>1.8455177351331831</c:v>
                </c:pt>
                <c:pt idx="20">
                  <c:v>1.904295498999236</c:v>
                </c:pt>
                <c:pt idx="21">
                  <c:v>1.8534564913513181</c:v>
                </c:pt>
                <c:pt idx="22">
                  <c:v>1.8991475039855359</c:v>
                </c:pt>
                <c:pt idx="23">
                  <c:v>1.868548455715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FEF-45A3-AF7E-81F03622E30C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Product 5</c:v>
                </c:pt>
              </c:strCache>
            </c:strRef>
          </c:tx>
          <c:spPr>
            <a:ln w="19050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5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6:$Y$6</c:f>
              <c:numCache>
                <c:formatCode>0.0</c:formatCode>
                <c:ptCount val="24"/>
                <c:pt idx="0">
                  <c:v>1.8143248697661101</c:v>
                </c:pt>
                <c:pt idx="1">
                  <c:v>1.927121296416785</c:v>
                </c:pt>
                <c:pt idx="2">
                  <c:v>1.964484491337763</c:v>
                </c:pt>
                <c:pt idx="3">
                  <c:v>1.7177445963905309</c:v>
                </c:pt>
                <c:pt idx="4">
                  <c:v>1.771222322056307</c:v>
                </c:pt>
                <c:pt idx="5">
                  <c:v>1.931888819030217</c:v>
                </c:pt>
                <c:pt idx="6">
                  <c:v>1.8116731196836671</c:v>
                </c:pt>
                <c:pt idx="7">
                  <c:v>1.8112629430438869</c:v>
                </c:pt>
                <c:pt idx="8">
                  <c:v>1.9893948475278911</c:v>
                </c:pt>
                <c:pt idx="9">
                  <c:v>1.7774913331703961</c:v>
                </c:pt>
                <c:pt idx="10">
                  <c:v>1.667622723347691</c:v>
                </c:pt>
                <c:pt idx="11">
                  <c:v>1.5555385458522231</c:v>
                </c:pt>
                <c:pt idx="12">
                  <c:v>1.8143248697661101</c:v>
                </c:pt>
                <c:pt idx="13">
                  <c:v>1.927121296416785</c:v>
                </c:pt>
                <c:pt idx="14">
                  <c:v>1.964484491337763</c:v>
                </c:pt>
                <c:pt idx="15">
                  <c:v>1.7177445963905309</c:v>
                </c:pt>
                <c:pt idx="16">
                  <c:v>1.771222322056307</c:v>
                </c:pt>
                <c:pt idx="17">
                  <c:v>1.931888819030217</c:v>
                </c:pt>
                <c:pt idx="18">
                  <c:v>1.8116731196836671</c:v>
                </c:pt>
                <c:pt idx="19">
                  <c:v>1.8112629430438869</c:v>
                </c:pt>
                <c:pt idx="20">
                  <c:v>1.9893948475278911</c:v>
                </c:pt>
                <c:pt idx="21">
                  <c:v>1.7774913331703961</c:v>
                </c:pt>
                <c:pt idx="22">
                  <c:v>1.667622723347691</c:v>
                </c:pt>
                <c:pt idx="23">
                  <c:v>1.55553854585222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FEF-45A3-AF7E-81F03622E30C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  <c:pt idx="0">
                  <c:v>Product 6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6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7:$Y$7</c:f>
              <c:numCache>
                <c:formatCode>0.0</c:formatCode>
                <c:ptCount val="24"/>
                <c:pt idx="0">
                  <c:v>1.191637775159099</c:v>
                </c:pt>
                <c:pt idx="1">
                  <c:v>1.3253380997902049</c:v>
                </c:pt>
                <c:pt idx="2">
                  <c:v>1.353119976573923</c:v>
                </c:pt>
                <c:pt idx="3">
                  <c:v>1.197747126413651</c:v>
                </c:pt>
                <c:pt idx="4">
                  <c:v>1.2445245699690719</c:v>
                </c:pt>
                <c:pt idx="5">
                  <c:v>1.337371296125295</c:v>
                </c:pt>
                <c:pt idx="6">
                  <c:v>1.304545763533308</c:v>
                </c:pt>
                <c:pt idx="7">
                  <c:v>1.3422940824755989</c:v>
                </c:pt>
                <c:pt idx="8">
                  <c:v>1.3514837706473981</c:v>
                </c:pt>
                <c:pt idx="9">
                  <c:v>1.409554791234316</c:v>
                </c:pt>
                <c:pt idx="10">
                  <c:v>1.357508896468413</c:v>
                </c:pt>
                <c:pt idx="11">
                  <c:v>1.2691098429040151</c:v>
                </c:pt>
                <c:pt idx="12">
                  <c:v>1.191637775159099</c:v>
                </c:pt>
                <c:pt idx="13">
                  <c:v>1.3253380997902049</c:v>
                </c:pt>
                <c:pt idx="14">
                  <c:v>1.353119976573923</c:v>
                </c:pt>
                <c:pt idx="15">
                  <c:v>1.197747126413651</c:v>
                </c:pt>
                <c:pt idx="16">
                  <c:v>1.2445245699690719</c:v>
                </c:pt>
                <c:pt idx="17">
                  <c:v>1.337371296125295</c:v>
                </c:pt>
                <c:pt idx="18">
                  <c:v>1.304545763533308</c:v>
                </c:pt>
                <c:pt idx="19">
                  <c:v>1.3422940824755989</c:v>
                </c:pt>
                <c:pt idx="20">
                  <c:v>1.3514837706473981</c:v>
                </c:pt>
                <c:pt idx="21">
                  <c:v>1.409554791234316</c:v>
                </c:pt>
                <c:pt idx="22">
                  <c:v>1.357508896468413</c:v>
                </c:pt>
                <c:pt idx="23">
                  <c:v>1.26910984290401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FEF-45A3-AF7E-81F03622E30C}"/>
            </c:ext>
          </c:extLst>
        </c:ser>
        <c:ser>
          <c:idx val="6"/>
          <c:order val="6"/>
          <c:tx>
            <c:strRef>
              <c:f>Sheet1!$A$8</c:f>
              <c:strCache>
                <c:ptCount val="1"/>
                <c:pt idx="0">
                  <c:v>Product 7</c:v>
                </c:pt>
              </c:strCache>
            </c:strRef>
          </c:tx>
          <c:spPr>
            <a:ln w="19050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1">
                    <a:lumMod val="60000"/>
                  </a:schemeClr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8:$Y$8</c:f>
              <c:numCache>
                <c:formatCode>0.0</c:formatCode>
                <c:ptCount val="24"/>
                <c:pt idx="0">
                  <c:v>1.1310414046716619</c:v>
                </c:pt>
                <c:pt idx="1">
                  <c:v>1.2462872344321489</c:v>
                </c:pt>
                <c:pt idx="2">
                  <c:v>1.188060760335933</c:v>
                </c:pt>
                <c:pt idx="3">
                  <c:v>1.146472560793337</c:v>
                </c:pt>
                <c:pt idx="4">
                  <c:v>1.1673670756914569</c:v>
                </c:pt>
                <c:pt idx="5">
                  <c:v>1.2317662926694779</c:v>
                </c:pt>
                <c:pt idx="6">
                  <c:v>1.205745067579912</c:v>
                </c:pt>
                <c:pt idx="7">
                  <c:v>1.279088886555948</c:v>
                </c:pt>
                <c:pt idx="8">
                  <c:v>1.306673226283575</c:v>
                </c:pt>
                <c:pt idx="9">
                  <c:v>1.2355803564088479</c:v>
                </c:pt>
                <c:pt idx="10">
                  <c:v>1.255491984891064</c:v>
                </c:pt>
                <c:pt idx="11">
                  <c:v>1.2830488268451441</c:v>
                </c:pt>
                <c:pt idx="12">
                  <c:v>1.1310414046716619</c:v>
                </c:pt>
                <c:pt idx="13">
                  <c:v>1.2462872344321489</c:v>
                </c:pt>
                <c:pt idx="14">
                  <c:v>1.188060760335933</c:v>
                </c:pt>
                <c:pt idx="15">
                  <c:v>1.146472560793337</c:v>
                </c:pt>
                <c:pt idx="16">
                  <c:v>1.1673670756914569</c:v>
                </c:pt>
                <c:pt idx="17">
                  <c:v>1.2317662926694779</c:v>
                </c:pt>
                <c:pt idx="18">
                  <c:v>1.205745067579912</c:v>
                </c:pt>
                <c:pt idx="19">
                  <c:v>1.279088886555948</c:v>
                </c:pt>
                <c:pt idx="20">
                  <c:v>1.306673226283575</c:v>
                </c:pt>
                <c:pt idx="21">
                  <c:v>1.2355803564088479</c:v>
                </c:pt>
                <c:pt idx="22">
                  <c:v>1.255491984891064</c:v>
                </c:pt>
                <c:pt idx="23">
                  <c:v>1.28304882684514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FFEF-45A3-AF7E-81F03622E30C}"/>
            </c:ext>
          </c:extLst>
        </c:ser>
        <c:ser>
          <c:idx val="7"/>
          <c:order val="7"/>
          <c:tx>
            <c:strRef>
              <c:f>Sheet1!$A$9</c:f>
              <c:strCache>
                <c:ptCount val="1"/>
                <c:pt idx="0">
                  <c:v>Product 8</c:v>
                </c:pt>
              </c:strCache>
            </c:strRef>
          </c:tx>
          <c:spPr>
            <a:ln w="19050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2">
                    <a:lumMod val="60000"/>
                  </a:schemeClr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9:$Y$9</c:f>
              <c:numCache>
                <c:formatCode>0.0</c:formatCode>
                <c:ptCount val="24"/>
                <c:pt idx="0">
                  <c:v>0.94644718862103816</c:v>
                </c:pt>
                <c:pt idx="1">
                  <c:v>0.91867780792933462</c:v>
                </c:pt>
                <c:pt idx="2">
                  <c:v>0.99873193058063225</c:v>
                </c:pt>
                <c:pt idx="3">
                  <c:v>0.88104765680278363</c:v>
                </c:pt>
                <c:pt idx="4">
                  <c:v>0.92707552109644908</c:v>
                </c:pt>
                <c:pt idx="5">
                  <c:v>1.047793957003754</c:v>
                </c:pt>
                <c:pt idx="6">
                  <c:v>0.91672532439445265</c:v>
                </c:pt>
                <c:pt idx="7">
                  <c:v>0.95237387648011285</c:v>
                </c:pt>
                <c:pt idx="8">
                  <c:v>1.0457055763565399</c:v>
                </c:pt>
                <c:pt idx="9">
                  <c:v>0.99618968146352871</c:v>
                </c:pt>
                <c:pt idx="10">
                  <c:v>0.92501578762885284</c:v>
                </c:pt>
                <c:pt idx="11">
                  <c:v>0.9608972266945045</c:v>
                </c:pt>
                <c:pt idx="12">
                  <c:v>0.94644718862103816</c:v>
                </c:pt>
                <c:pt idx="13">
                  <c:v>0.91867780792933462</c:v>
                </c:pt>
                <c:pt idx="14">
                  <c:v>0.99873193058063225</c:v>
                </c:pt>
                <c:pt idx="15">
                  <c:v>0.88104765680278363</c:v>
                </c:pt>
                <c:pt idx="16">
                  <c:v>0.92707552109644908</c:v>
                </c:pt>
                <c:pt idx="17">
                  <c:v>1.047793957003754</c:v>
                </c:pt>
                <c:pt idx="18">
                  <c:v>0.91672532439445265</c:v>
                </c:pt>
                <c:pt idx="19">
                  <c:v>0.95237387648011285</c:v>
                </c:pt>
                <c:pt idx="20">
                  <c:v>1.0457055763565399</c:v>
                </c:pt>
                <c:pt idx="21">
                  <c:v>0.99618968146352871</c:v>
                </c:pt>
                <c:pt idx="22">
                  <c:v>0.92501578762885284</c:v>
                </c:pt>
                <c:pt idx="23">
                  <c:v>0.96089722669450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FFEF-45A3-AF7E-81F03622E30C}"/>
            </c:ext>
          </c:extLst>
        </c:ser>
        <c:ser>
          <c:idx val="8"/>
          <c:order val="8"/>
          <c:tx>
            <c:strRef>
              <c:f>Sheet1!$A$10</c:f>
              <c:strCache>
                <c:ptCount val="1"/>
                <c:pt idx="0">
                  <c:v>Product 9</c:v>
                </c:pt>
              </c:strCache>
            </c:strRef>
          </c:tx>
          <c:spPr>
            <a:ln w="19050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3">
                    <a:lumMod val="60000"/>
                  </a:schemeClr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10:$Y$10</c:f>
              <c:numCache>
                <c:formatCode>0.0</c:formatCode>
                <c:ptCount val="24"/>
                <c:pt idx="0">
                  <c:v>0.57084972240940424</c:v>
                </c:pt>
                <c:pt idx="1">
                  <c:v>0.59545141869740004</c:v>
                </c:pt>
                <c:pt idx="2">
                  <c:v>0.61879568902477367</c:v>
                </c:pt>
                <c:pt idx="3">
                  <c:v>0.65554244338141121</c:v>
                </c:pt>
                <c:pt idx="4">
                  <c:v>0.69319488184960787</c:v>
                </c:pt>
                <c:pt idx="5">
                  <c:v>0.6886205174012775</c:v>
                </c:pt>
                <c:pt idx="6">
                  <c:v>0.72427565003328553</c:v>
                </c:pt>
                <c:pt idx="7">
                  <c:v>0.72076609675008241</c:v>
                </c:pt>
                <c:pt idx="8">
                  <c:v>0.73456490737579638</c:v>
                </c:pt>
                <c:pt idx="9">
                  <c:v>0.71839276887508263</c:v>
                </c:pt>
                <c:pt idx="10">
                  <c:v>0.7115688644112278</c:v>
                </c:pt>
                <c:pt idx="11">
                  <c:v>0.74217276630032025</c:v>
                </c:pt>
                <c:pt idx="12">
                  <c:v>0.57084972240940424</c:v>
                </c:pt>
                <c:pt idx="13">
                  <c:v>0.59545141869740004</c:v>
                </c:pt>
                <c:pt idx="14">
                  <c:v>0.61879568902477367</c:v>
                </c:pt>
                <c:pt idx="15">
                  <c:v>0.65554244338141121</c:v>
                </c:pt>
                <c:pt idx="16">
                  <c:v>0.69319488184960787</c:v>
                </c:pt>
                <c:pt idx="17">
                  <c:v>0.6886205174012775</c:v>
                </c:pt>
                <c:pt idx="18">
                  <c:v>0.72427565003328553</c:v>
                </c:pt>
                <c:pt idx="19">
                  <c:v>0.72076609675008241</c:v>
                </c:pt>
                <c:pt idx="20">
                  <c:v>0.73456490737579638</c:v>
                </c:pt>
                <c:pt idx="21">
                  <c:v>0.71839276887508263</c:v>
                </c:pt>
                <c:pt idx="22">
                  <c:v>0.7115688644112278</c:v>
                </c:pt>
                <c:pt idx="23">
                  <c:v>0.742172766300320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FFEF-45A3-AF7E-81F03622E30C}"/>
            </c:ext>
          </c:extLst>
        </c:ser>
        <c:ser>
          <c:idx val="9"/>
          <c:order val="9"/>
          <c:tx>
            <c:strRef>
              <c:f>Sheet1!$A$11</c:f>
              <c:strCache>
                <c:ptCount val="1"/>
                <c:pt idx="0">
                  <c:v>Product 10</c:v>
                </c:pt>
              </c:strCache>
            </c:strRef>
          </c:tx>
          <c:spPr>
            <a:ln w="19050" cap="rnd">
              <a:solidFill>
                <a:srgbClr val="1482AC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rgbClr val="1482AC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11:$Y$11</c:f>
              <c:numCache>
                <c:formatCode>0.0</c:formatCode>
                <c:ptCount val="24"/>
                <c:pt idx="0">
                  <c:v>0.6412040729748939</c:v>
                </c:pt>
                <c:pt idx="1">
                  <c:v>0.63351079917111608</c:v>
                </c:pt>
                <c:pt idx="2">
                  <c:v>0.5768480301566753</c:v>
                </c:pt>
                <c:pt idx="3">
                  <c:v>0.61365384383555988</c:v>
                </c:pt>
                <c:pt idx="4">
                  <c:v>0.58595849847294246</c:v>
                </c:pt>
                <c:pt idx="5">
                  <c:v>0.62346865751417502</c:v>
                </c:pt>
                <c:pt idx="6">
                  <c:v>0.59299707170810478</c:v>
                </c:pt>
                <c:pt idx="7">
                  <c:v>0.62781903644583481</c:v>
                </c:pt>
                <c:pt idx="8">
                  <c:v>0.64817824689151193</c:v>
                </c:pt>
                <c:pt idx="9">
                  <c:v>0.68020035011213753</c:v>
                </c:pt>
                <c:pt idx="10">
                  <c:v>0.68879940310144538</c:v>
                </c:pt>
                <c:pt idx="11">
                  <c:v>0.65374384701341337</c:v>
                </c:pt>
                <c:pt idx="12">
                  <c:v>0.6412040729748939</c:v>
                </c:pt>
                <c:pt idx="13">
                  <c:v>0.63351079917111608</c:v>
                </c:pt>
                <c:pt idx="14">
                  <c:v>0.5768480301566753</c:v>
                </c:pt>
                <c:pt idx="15">
                  <c:v>0.61365384383555988</c:v>
                </c:pt>
                <c:pt idx="16">
                  <c:v>0.58595849847294246</c:v>
                </c:pt>
                <c:pt idx="17">
                  <c:v>0.62346865751417502</c:v>
                </c:pt>
                <c:pt idx="18">
                  <c:v>0.59299707170810478</c:v>
                </c:pt>
                <c:pt idx="19">
                  <c:v>0.62781903644583481</c:v>
                </c:pt>
                <c:pt idx="20">
                  <c:v>0.64817824689151193</c:v>
                </c:pt>
                <c:pt idx="21">
                  <c:v>0.68020035011213753</c:v>
                </c:pt>
                <c:pt idx="22">
                  <c:v>0.68879940310144538</c:v>
                </c:pt>
                <c:pt idx="23">
                  <c:v>0.653743847013413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FFEF-45A3-AF7E-81F03622E30C}"/>
            </c:ext>
          </c:extLst>
        </c:ser>
        <c:ser>
          <c:idx val="10"/>
          <c:order val="10"/>
          <c:tx>
            <c:strRef>
              <c:f>Sheet1!$A$12</c:f>
              <c:strCache>
                <c:ptCount val="1"/>
                <c:pt idx="0">
                  <c:v>Others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6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12:$Y$12</c:f>
              <c:numCache>
                <c:formatCode>0.0</c:formatCode>
                <c:ptCount val="24"/>
                <c:pt idx="0">
                  <c:v>0.57288930640820601</c:v>
                </c:pt>
                <c:pt idx="1">
                  <c:v>0.60380664275974827</c:v>
                </c:pt>
                <c:pt idx="2">
                  <c:v>0.58587628353508692</c:v>
                </c:pt>
                <c:pt idx="3">
                  <c:v>0.55075661766040274</c:v>
                </c:pt>
                <c:pt idx="4">
                  <c:v>0.56300887777178465</c:v>
                </c:pt>
                <c:pt idx="5">
                  <c:v>0.58863714930102606</c:v>
                </c:pt>
                <c:pt idx="6">
                  <c:v>0.57075511241875698</c:v>
                </c:pt>
                <c:pt idx="7">
                  <c:v>0.57358572447108247</c:v>
                </c:pt>
                <c:pt idx="8">
                  <c:v>0.58915251145581116</c:v>
                </c:pt>
                <c:pt idx="9">
                  <c:v>0.56843944160490156</c:v>
                </c:pt>
                <c:pt idx="10">
                  <c:v>0.58022815339207623</c:v>
                </c:pt>
                <c:pt idx="11">
                  <c:v>0.6104943074891761</c:v>
                </c:pt>
                <c:pt idx="12">
                  <c:v>0.57288930640820601</c:v>
                </c:pt>
                <c:pt idx="13">
                  <c:v>0.60380664275974827</c:v>
                </c:pt>
                <c:pt idx="14">
                  <c:v>0.58587628353508692</c:v>
                </c:pt>
                <c:pt idx="15">
                  <c:v>0.55075661766040274</c:v>
                </c:pt>
                <c:pt idx="16">
                  <c:v>0.56300887777178465</c:v>
                </c:pt>
                <c:pt idx="17">
                  <c:v>0.58863714930102606</c:v>
                </c:pt>
                <c:pt idx="18">
                  <c:v>0.57075511241875698</c:v>
                </c:pt>
                <c:pt idx="19">
                  <c:v>0.57358572447108247</c:v>
                </c:pt>
                <c:pt idx="20">
                  <c:v>0.58915251145581116</c:v>
                </c:pt>
                <c:pt idx="21">
                  <c:v>0.56843944160490156</c:v>
                </c:pt>
                <c:pt idx="22">
                  <c:v>0.58022815339207623</c:v>
                </c:pt>
                <c:pt idx="23">
                  <c:v>0.6104943074891761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A-FFEF-45A3-AF7E-81F03622E3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22745232"/>
        <c:axId val="522740920"/>
        <c:extLst/>
      </c:lineChart>
      <c:catAx>
        <c:axId val="52274523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2740920"/>
        <c:crosses val="autoZero"/>
        <c:auto val="1"/>
        <c:lblAlgn val="ctr"/>
        <c:lblOffset val="100"/>
        <c:noMultiLvlLbl val="0"/>
      </c:catAx>
      <c:valAx>
        <c:axId val="52274092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Volume Share (%)</a:t>
                </a:r>
              </a:p>
            </c:rich>
          </c:tx>
          <c:layout>
            <c:manualLayout>
              <c:xMode val="edge"/>
              <c:yMode val="edge"/>
              <c:x val="6.1916845621570037E-2"/>
              <c:y val="6.8492289299525194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7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#,##0.00_ 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2745232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>
          <a:solidFill>
            <a:schemeClr val="tx1"/>
          </a:solidFill>
          <a:latin typeface="+mn-lt"/>
        </a:defRPr>
      </a:pPr>
      <a:endParaRPr lang="zh-CN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935858128353424"/>
          <c:y val="3.9855083834041946E-2"/>
          <c:w val="0.79692228183866398"/>
          <c:h val="0.57233383896320866"/>
        </c:manualLayout>
      </c:layout>
      <c:barChart>
        <c:barDir val="col"/>
        <c:grouping val="stacked"/>
        <c:varyColors val="0"/>
        <c:ser>
          <c:idx val="3"/>
          <c:order val="0"/>
          <c:tx>
            <c:strRef>
              <c:f>Sheet1!$E$1</c:f>
              <c:strCache>
                <c:ptCount val="1"/>
                <c:pt idx="0">
                  <c:v>Others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6350">
              <a:solidFill>
                <a:schemeClr val="bg1"/>
              </a:solidFill>
              <a:prstDash val="solid"/>
            </a:ln>
          </c:spPr>
          <c:invertIfNegative val="0"/>
          <c:cat>
            <c:strRef>
              <c:f>Sheet1!$A$2:$A$32</c:f>
              <c:strCache>
                <c:ptCount val="31"/>
                <c:pt idx="0">
                  <c:v>省份1</c:v>
                </c:pt>
                <c:pt idx="1">
                  <c:v>省份2</c:v>
                </c:pt>
                <c:pt idx="2">
                  <c:v>省份3</c:v>
                </c:pt>
                <c:pt idx="3">
                  <c:v>省份4</c:v>
                </c:pt>
                <c:pt idx="4">
                  <c:v>省份5</c:v>
                </c:pt>
                <c:pt idx="5">
                  <c:v>省份6</c:v>
                </c:pt>
                <c:pt idx="6">
                  <c:v>省份7</c:v>
                </c:pt>
                <c:pt idx="7">
                  <c:v>省份8</c:v>
                </c:pt>
                <c:pt idx="8">
                  <c:v>省份9</c:v>
                </c:pt>
                <c:pt idx="9">
                  <c:v>省份10</c:v>
                </c:pt>
                <c:pt idx="10">
                  <c:v>省份11</c:v>
                </c:pt>
                <c:pt idx="11">
                  <c:v>省份12</c:v>
                </c:pt>
                <c:pt idx="12">
                  <c:v>省份13</c:v>
                </c:pt>
                <c:pt idx="13">
                  <c:v>省份14</c:v>
                </c:pt>
                <c:pt idx="14">
                  <c:v>省份15</c:v>
                </c:pt>
                <c:pt idx="15">
                  <c:v>省份16</c:v>
                </c:pt>
                <c:pt idx="16">
                  <c:v>省份17</c:v>
                </c:pt>
                <c:pt idx="17">
                  <c:v>省份18</c:v>
                </c:pt>
                <c:pt idx="18">
                  <c:v>省份19</c:v>
                </c:pt>
                <c:pt idx="19">
                  <c:v>省份20</c:v>
                </c:pt>
                <c:pt idx="20">
                  <c:v>省份21</c:v>
                </c:pt>
                <c:pt idx="21">
                  <c:v>省份22</c:v>
                </c:pt>
                <c:pt idx="22">
                  <c:v>省份23</c:v>
                </c:pt>
                <c:pt idx="23">
                  <c:v>省份24</c:v>
                </c:pt>
                <c:pt idx="24">
                  <c:v>省份25</c:v>
                </c:pt>
                <c:pt idx="25">
                  <c:v>省份26</c:v>
                </c:pt>
                <c:pt idx="26">
                  <c:v>省份27</c:v>
                </c:pt>
                <c:pt idx="27">
                  <c:v>省份28</c:v>
                </c:pt>
                <c:pt idx="28">
                  <c:v>省份29</c:v>
                </c:pt>
                <c:pt idx="29">
                  <c:v>省份30</c:v>
                </c:pt>
                <c:pt idx="30">
                  <c:v>省份31</c:v>
                </c:pt>
              </c:strCache>
            </c:strRef>
          </c:cat>
          <c:val>
            <c:numRef>
              <c:f>Sheet1!$E$2:$E$32</c:f>
              <c:numCache>
                <c:formatCode>0.0%</c:formatCode>
                <c:ptCount val="31"/>
                <c:pt idx="0">
                  <c:v>0.81</c:v>
                </c:pt>
                <c:pt idx="1">
                  <c:v>0.81</c:v>
                </c:pt>
                <c:pt idx="2">
                  <c:v>0.81</c:v>
                </c:pt>
                <c:pt idx="3">
                  <c:v>0.81</c:v>
                </c:pt>
                <c:pt idx="4">
                  <c:v>0.81</c:v>
                </c:pt>
                <c:pt idx="5">
                  <c:v>0.81</c:v>
                </c:pt>
                <c:pt idx="6">
                  <c:v>0.81</c:v>
                </c:pt>
                <c:pt idx="7">
                  <c:v>0.81</c:v>
                </c:pt>
                <c:pt idx="8">
                  <c:v>0.81</c:v>
                </c:pt>
                <c:pt idx="9">
                  <c:v>0.81</c:v>
                </c:pt>
                <c:pt idx="10">
                  <c:v>0.81</c:v>
                </c:pt>
                <c:pt idx="11">
                  <c:v>0.81</c:v>
                </c:pt>
                <c:pt idx="12">
                  <c:v>0.81</c:v>
                </c:pt>
                <c:pt idx="13">
                  <c:v>0.81</c:v>
                </c:pt>
                <c:pt idx="14">
                  <c:v>0.81</c:v>
                </c:pt>
                <c:pt idx="15">
                  <c:v>0.81</c:v>
                </c:pt>
                <c:pt idx="16">
                  <c:v>0.81</c:v>
                </c:pt>
                <c:pt idx="17">
                  <c:v>0.81</c:v>
                </c:pt>
                <c:pt idx="18">
                  <c:v>0.81</c:v>
                </c:pt>
                <c:pt idx="19">
                  <c:v>0.81</c:v>
                </c:pt>
                <c:pt idx="20">
                  <c:v>0.81</c:v>
                </c:pt>
                <c:pt idx="21">
                  <c:v>0.81</c:v>
                </c:pt>
                <c:pt idx="22">
                  <c:v>0.81</c:v>
                </c:pt>
                <c:pt idx="23">
                  <c:v>0.81</c:v>
                </c:pt>
                <c:pt idx="24">
                  <c:v>0.81</c:v>
                </c:pt>
                <c:pt idx="25">
                  <c:v>0.81</c:v>
                </c:pt>
                <c:pt idx="26">
                  <c:v>0.81</c:v>
                </c:pt>
                <c:pt idx="27">
                  <c:v>0.81</c:v>
                </c:pt>
                <c:pt idx="28">
                  <c:v>0.81</c:v>
                </c:pt>
                <c:pt idx="29">
                  <c:v>0.81</c:v>
                </c:pt>
                <c:pt idx="30">
                  <c:v>0.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6B-4CF0-96C5-585EDF8206FE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Competitor2</c:v>
                </c:pt>
              </c:strCache>
            </c:strRef>
          </c:tx>
          <c:spPr>
            <a:solidFill>
              <a:schemeClr val="accent2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32</c:f>
              <c:strCache>
                <c:ptCount val="31"/>
                <c:pt idx="0">
                  <c:v>省份1</c:v>
                </c:pt>
                <c:pt idx="1">
                  <c:v>省份2</c:v>
                </c:pt>
                <c:pt idx="2">
                  <c:v>省份3</c:v>
                </c:pt>
                <c:pt idx="3">
                  <c:v>省份4</c:v>
                </c:pt>
                <c:pt idx="4">
                  <c:v>省份5</c:v>
                </c:pt>
                <c:pt idx="5">
                  <c:v>省份6</c:v>
                </c:pt>
                <c:pt idx="6">
                  <c:v>省份7</c:v>
                </c:pt>
                <c:pt idx="7">
                  <c:v>省份8</c:v>
                </c:pt>
                <c:pt idx="8">
                  <c:v>省份9</c:v>
                </c:pt>
                <c:pt idx="9">
                  <c:v>省份10</c:v>
                </c:pt>
                <c:pt idx="10">
                  <c:v>省份11</c:v>
                </c:pt>
                <c:pt idx="11">
                  <c:v>省份12</c:v>
                </c:pt>
                <c:pt idx="12">
                  <c:v>省份13</c:v>
                </c:pt>
                <c:pt idx="13">
                  <c:v>省份14</c:v>
                </c:pt>
                <c:pt idx="14">
                  <c:v>省份15</c:v>
                </c:pt>
                <c:pt idx="15">
                  <c:v>省份16</c:v>
                </c:pt>
                <c:pt idx="16">
                  <c:v>省份17</c:v>
                </c:pt>
                <c:pt idx="17">
                  <c:v>省份18</c:v>
                </c:pt>
                <c:pt idx="18">
                  <c:v>省份19</c:v>
                </c:pt>
                <c:pt idx="19">
                  <c:v>省份20</c:v>
                </c:pt>
                <c:pt idx="20">
                  <c:v>省份21</c:v>
                </c:pt>
                <c:pt idx="21">
                  <c:v>省份22</c:v>
                </c:pt>
                <c:pt idx="22">
                  <c:v>省份23</c:v>
                </c:pt>
                <c:pt idx="23">
                  <c:v>省份24</c:v>
                </c:pt>
                <c:pt idx="24">
                  <c:v>省份25</c:v>
                </c:pt>
                <c:pt idx="25">
                  <c:v>省份26</c:v>
                </c:pt>
                <c:pt idx="26">
                  <c:v>省份27</c:v>
                </c:pt>
                <c:pt idx="27">
                  <c:v>省份28</c:v>
                </c:pt>
                <c:pt idx="28">
                  <c:v>省份29</c:v>
                </c:pt>
                <c:pt idx="29">
                  <c:v>省份30</c:v>
                </c:pt>
                <c:pt idx="30">
                  <c:v>省份31</c:v>
                </c:pt>
              </c:strCache>
            </c:strRef>
          </c:cat>
          <c:val>
            <c:numRef>
              <c:f>Sheet1!$D$2:$D$32</c:f>
              <c:numCache>
                <c:formatCode>0.0%</c:formatCode>
                <c:ptCount val="31"/>
                <c:pt idx="0">
                  <c:v>0.06</c:v>
                </c:pt>
                <c:pt idx="1">
                  <c:v>0.06</c:v>
                </c:pt>
                <c:pt idx="2">
                  <c:v>0.06</c:v>
                </c:pt>
                <c:pt idx="3">
                  <c:v>0.06</c:v>
                </c:pt>
                <c:pt idx="4">
                  <c:v>0.06</c:v>
                </c:pt>
                <c:pt idx="5">
                  <c:v>0.06</c:v>
                </c:pt>
                <c:pt idx="6">
                  <c:v>0.06</c:v>
                </c:pt>
                <c:pt idx="7">
                  <c:v>0.06</c:v>
                </c:pt>
                <c:pt idx="8">
                  <c:v>0.06</c:v>
                </c:pt>
                <c:pt idx="9">
                  <c:v>0.06</c:v>
                </c:pt>
                <c:pt idx="10">
                  <c:v>0.06</c:v>
                </c:pt>
                <c:pt idx="11">
                  <c:v>0.06</c:v>
                </c:pt>
                <c:pt idx="12">
                  <c:v>0.06</c:v>
                </c:pt>
                <c:pt idx="13">
                  <c:v>0.06</c:v>
                </c:pt>
                <c:pt idx="14">
                  <c:v>0.06</c:v>
                </c:pt>
                <c:pt idx="15">
                  <c:v>0.06</c:v>
                </c:pt>
                <c:pt idx="16">
                  <c:v>0.06</c:v>
                </c:pt>
                <c:pt idx="17">
                  <c:v>0.06</c:v>
                </c:pt>
                <c:pt idx="18">
                  <c:v>0.06</c:v>
                </c:pt>
                <c:pt idx="19">
                  <c:v>0.06</c:v>
                </c:pt>
                <c:pt idx="20">
                  <c:v>0.06</c:v>
                </c:pt>
                <c:pt idx="21">
                  <c:v>0.06</c:v>
                </c:pt>
                <c:pt idx="22">
                  <c:v>0.06</c:v>
                </c:pt>
                <c:pt idx="23">
                  <c:v>0.06</c:v>
                </c:pt>
                <c:pt idx="24">
                  <c:v>0.06</c:v>
                </c:pt>
                <c:pt idx="25">
                  <c:v>0.06</c:v>
                </c:pt>
                <c:pt idx="26">
                  <c:v>0.06</c:v>
                </c:pt>
                <c:pt idx="27">
                  <c:v>0.06</c:v>
                </c:pt>
                <c:pt idx="28">
                  <c:v>0.06</c:v>
                </c:pt>
                <c:pt idx="29">
                  <c:v>0.06</c:v>
                </c:pt>
                <c:pt idx="30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76B-4CF0-96C5-585EDF8206FE}"/>
            </c:ext>
          </c:extLst>
        </c:ser>
        <c:ser>
          <c:idx val="1"/>
          <c:order val="2"/>
          <c:tx>
            <c:strRef>
              <c:f>Sheet1!$C$1</c:f>
              <c:strCache>
                <c:ptCount val="1"/>
                <c:pt idx="0">
                  <c:v>Competitor1</c:v>
                </c:pt>
              </c:strCache>
            </c:strRef>
          </c:tx>
          <c:spPr>
            <a:solidFill>
              <a:schemeClr val="accent1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32</c:f>
              <c:strCache>
                <c:ptCount val="31"/>
                <c:pt idx="0">
                  <c:v>省份1</c:v>
                </c:pt>
                <c:pt idx="1">
                  <c:v>省份2</c:v>
                </c:pt>
                <c:pt idx="2">
                  <c:v>省份3</c:v>
                </c:pt>
                <c:pt idx="3">
                  <c:v>省份4</c:v>
                </c:pt>
                <c:pt idx="4">
                  <c:v>省份5</c:v>
                </c:pt>
                <c:pt idx="5">
                  <c:v>省份6</c:v>
                </c:pt>
                <c:pt idx="6">
                  <c:v>省份7</c:v>
                </c:pt>
                <c:pt idx="7">
                  <c:v>省份8</c:v>
                </c:pt>
                <c:pt idx="8">
                  <c:v>省份9</c:v>
                </c:pt>
                <c:pt idx="9">
                  <c:v>省份10</c:v>
                </c:pt>
                <c:pt idx="10">
                  <c:v>省份11</c:v>
                </c:pt>
                <c:pt idx="11">
                  <c:v>省份12</c:v>
                </c:pt>
                <c:pt idx="12">
                  <c:v>省份13</c:v>
                </c:pt>
                <c:pt idx="13">
                  <c:v>省份14</c:v>
                </c:pt>
                <c:pt idx="14">
                  <c:v>省份15</c:v>
                </c:pt>
                <c:pt idx="15">
                  <c:v>省份16</c:v>
                </c:pt>
                <c:pt idx="16">
                  <c:v>省份17</c:v>
                </c:pt>
                <c:pt idx="17">
                  <c:v>省份18</c:v>
                </c:pt>
                <c:pt idx="18">
                  <c:v>省份19</c:v>
                </c:pt>
                <c:pt idx="19">
                  <c:v>省份20</c:v>
                </c:pt>
                <c:pt idx="20">
                  <c:v>省份21</c:v>
                </c:pt>
                <c:pt idx="21">
                  <c:v>省份22</c:v>
                </c:pt>
                <c:pt idx="22">
                  <c:v>省份23</c:v>
                </c:pt>
                <c:pt idx="23">
                  <c:v>省份24</c:v>
                </c:pt>
                <c:pt idx="24">
                  <c:v>省份25</c:v>
                </c:pt>
                <c:pt idx="25">
                  <c:v>省份26</c:v>
                </c:pt>
                <c:pt idx="26">
                  <c:v>省份27</c:v>
                </c:pt>
                <c:pt idx="27">
                  <c:v>省份28</c:v>
                </c:pt>
                <c:pt idx="28">
                  <c:v>省份29</c:v>
                </c:pt>
                <c:pt idx="29">
                  <c:v>省份30</c:v>
                </c:pt>
                <c:pt idx="30">
                  <c:v>省份31</c:v>
                </c:pt>
              </c:strCache>
            </c:strRef>
          </c:cat>
          <c:val>
            <c:numRef>
              <c:f>Sheet1!$C$2:$C$32</c:f>
              <c:numCache>
                <c:formatCode>0.0%</c:formatCode>
                <c:ptCount val="31"/>
                <c:pt idx="0">
                  <c:v>0.08</c:v>
                </c:pt>
                <c:pt idx="1">
                  <c:v>0.08</c:v>
                </c:pt>
                <c:pt idx="2">
                  <c:v>0.08</c:v>
                </c:pt>
                <c:pt idx="3">
                  <c:v>0.08</c:v>
                </c:pt>
                <c:pt idx="4">
                  <c:v>0.08</c:v>
                </c:pt>
                <c:pt idx="5">
                  <c:v>0.08</c:v>
                </c:pt>
                <c:pt idx="6">
                  <c:v>0.08</c:v>
                </c:pt>
                <c:pt idx="7">
                  <c:v>0.08</c:v>
                </c:pt>
                <c:pt idx="8">
                  <c:v>0.08</c:v>
                </c:pt>
                <c:pt idx="9">
                  <c:v>0.08</c:v>
                </c:pt>
                <c:pt idx="10">
                  <c:v>0.08</c:v>
                </c:pt>
                <c:pt idx="11">
                  <c:v>0.08</c:v>
                </c:pt>
                <c:pt idx="12">
                  <c:v>0.08</c:v>
                </c:pt>
                <c:pt idx="13">
                  <c:v>0.08</c:v>
                </c:pt>
                <c:pt idx="14">
                  <c:v>0.08</c:v>
                </c:pt>
                <c:pt idx="15">
                  <c:v>0.08</c:v>
                </c:pt>
                <c:pt idx="16">
                  <c:v>0.08</c:v>
                </c:pt>
                <c:pt idx="17">
                  <c:v>0.08</c:v>
                </c:pt>
                <c:pt idx="18">
                  <c:v>0.08</c:v>
                </c:pt>
                <c:pt idx="19">
                  <c:v>0.08</c:v>
                </c:pt>
                <c:pt idx="20">
                  <c:v>0.08</c:v>
                </c:pt>
                <c:pt idx="21">
                  <c:v>0.08</c:v>
                </c:pt>
                <c:pt idx="22">
                  <c:v>0.08</c:v>
                </c:pt>
                <c:pt idx="23">
                  <c:v>0.08</c:v>
                </c:pt>
                <c:pt idx="24">
                  <c:v>0.08</c:v>
                </c:pt>
                <c:pt idx="25">
                  <c:v>0.08</c:v>
                </c:pt>
                <c:pt idx="26">
                  <c:v>0.08</c:v>
                </c:pt>
                <c:pt idx="27">
                  <c:v>0.08</c:v>
                </c:pt>
                <c:pt idx="28">
                  <c:v>0.08</c:v>
                </c:pt>
                <c:pt idx="29">
                  <c:v>0.08</c:v>
                </c:pt>
                <c:pt idx="30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76B-4CF0-96C5-585EDF8206FE}"/>
            </c:ext>
          </c:extLst>
        </c:ser>
        <c:ser>
          <c:idx val="0"/>
          <c:order val="3"/>
          <c:tx>
            <c:strRef>
              <c:f>Sheet1!$B$1</c:f>
              <c:strCache>
                <c:ptCount val="1"/>
                <c:pt idx="0">
                  <c:v>Int Prod</c:v>
                </c:pt>
              </c:strCache>
            </c:strRef>
          </c:tx>
          <c:spPr>
            <a:solidFill>
              <a:srgbClr val="FF0000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32</c:f>
              <c:strCache>
                <c:ptCount val="31"/>
                <c:pt idx="0">
                  <c:v>省份1</c:v>
                </c:pt>
                <c:pt idx="1">
                  <c:v>省份2</c:v>
                </c:pt>
                <c:pt idx="2">
                  <c:v>省份3</c:v>
                </c:pt>
                <c:pt idx="3">
                  <c:v>省份4</c:v>
                </c:pt>
                <c:pt idx="4">
                  <c:v>省份5</c:v>
                </c:pt>
                <c:pt idx="5">
                  <c:v>省份6</c:v>
                </c:pt>
                <c:pt idx="6">
                  <c:v>省份7</c:v>
                </c:pt>
                <c:pt idx="7">
                  <c:v>省份8</c:v>
                </c:pt>
                <c:pt idx="8">
                  <c:v>省份9</c:v>
                </c:pt>
                <c:pt idx="9">
                  <c:v>省份10</c:v>
                </c:pt>
                <c:pt idx="10">
                  <c:v>省份11</c:v>
                </c:pt>
                <c:pt idx="11">
                  <c:v>省份12</c:v>
                </c:pt>
                <c:pt idx="12">
                  <c:v>省份13</c:v>
                </c:pt>
                <c:pt idx="13">
                  <c:v>省份14</c:v>
                </c:pt>
                <c:pt idx="14">
                  <c:v>省份15</c:v>
                </c:pt>
                <c:pt idx="15">
                  <c:v>省份16</c:v>
                </c:pt>
                <c:pt idx="16">
                  <c:v>省份17</c:v>
                </c:pt>
                <c:pt idx="17">
                  <c:v>省份18</c:v>
                </c:pt>
                <c:pt idx="18">
                  <c:v>省份19</c:v>
                </c:pt>
                <c:pt idx="19">
                  <c:v>省份20</c:v>
                </c:pt>
                <c:pt idx="20">
                  <c:v>省份21</c:v>
                </c:pt>
                <c:pt idx="21">
                  <c:v>省份22</c:v>
                </c:pt>
                <c:pt idx="22">
                  <c:v>省份23</c:v>
                </c:pt>
                <c:pt idx="23">
                  <c:v>省份24</c:v>
                </c:pt>
                <c:pt idx="24">
                  <c:v>省份25</c:v>
                </c:pt>
                <c:pt idx="25">
                  <c:v>省份26</c:v>
                </c:pt>
                <c:pt idx="26">
                  <c:v>省份27</c:v>
                </c:pt>
                <c:pt idx="27">
                  <c:v>省份28</c:v>
                </c:pt>
                <c:pt idx="28">
                  <c:v>省份29</c:v>
                </c:pt>
                <c:pt idx="29">
                  <c:v>省份30</c:v>
                </c:pt>
                <c:pt idx="30">
                  <c:v>省份31</c:v>
                </c:pt>
              </c:strCache>
            </c:strRef>
          </c:cat>
          <c:val>
            <c:numRef>
              <c:f>Sheet1!$B$2:$B$32</c:f>
              <c:numCache>
                <c:formatCode>0.0%</c:formatCode>
                <c:ptCount val="31"/>
                <c:pt idx="0">
                  <c:v>0.05</c:v>
                </c:pt>
                <c:pt idx="1">
                  <c:v>0.05</c:v>
                </c:pt>
                <c:pt idx="2">
                  <c:v>0.05</c:v>
                </c:pt>
                <c:pt idx="3">
                  <c:v>0.05</c:v>
                </c:pt>
                <c:pt idx="4">
                  <c:v>0.05</c:v>
                </c:pt>
                <c:pt idx="5">
                  <c:v>0.05</c:v>
                </c:pt>
                <c:pt idx="6">
                  <c:v>0.05</c:v>
                </c:pt>
                <c:pt idx="7">
                  <c:v>0.05</c:v>
                </c:pt>
                <c:pt idx="8">
                  <c:v>0.05</c:v>
                </c:pt>
                <c:pt idx="9">
                  <c:v>0.05</c:v>
                </c:pt>
                <c:pt idx="10">
                  <c:v>0.05</c:v>
                </c:pt>
                <c:pt idx="11">
                  <c:v>0.05</c:v>
                </c:pt>
                <c:pt idx="12">
                  <c:v>0.05</c:v>
                </c:pt>
                <c:pt idx="13">
                  <c:v>0.05</c:v>
                </c:pt>
                <c:pt idx="14">
                  <c:v>0.05</c:v>
                </c:pt>
                <c:pt idx="15">
                  <c:v>0.05</c:v>
                </c:pt>
                <c:pt idx="16">
                  <c:v>0.05</c:v>
                </c:pt>
                <c:pt idx="17">
                  <c:v>0.05</c:v>
                </c:pt>
                <c:pt idx="18">
                  <c:v>0.05</c:v>
                </c:pt>
                <c:pt idx="19">
                  <c:v>0.05</c:v>
                </c:pt>
                <c:pt idx="20">
                  <c:v>0.05</c:v>
                </c:pt>
                <c:pt idx="21">
                  <c:v>0.05</c:v>
                </c:pt>
                <c:pt idx="22">
                  <c:v>0.05</c:v>
                </c:pt>
                <c:pt idx="23">
                  <c:v>0.05</c:v>
                </c:pt>
                <c:pt idx="24">
                  <c:v>0.05</c:v>
                </c:pt>
                <c:pt idx="25">
                  <c:v>0.05</c:v>
                </c:pt>
                <c:pt idx="26">
                  <c:v>0.05</c:v>
                </c:pt>
                <c:pt idx="27">
                  <c:v>0.05</c:v>
                </c:pt>
                <c:pt idx="28">
                  <c:v>0.05</c:v>
                </c:pt>
                <c:pt idx="29">
                  <c:v>0.05</c:v>
                </c:pt>
                <c:pt idx="30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76B-4CF0-96C5-585EDF8206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522747976"/>
        <c:axId val="522737784"/>
      </c:barChart>
      <c:lineChart>
        <c:grouping val="standard"/>
        <c:varyColors val="0"/>
        <c:ser>
          <c:idx val="4"/>
          <c:order val="4"/>
          <c:tx>
            <c:strRef>
              <c:f>Sheet1!$F$1</c:f>
              <c:strCache>
                <c:ptCount val="1"/>
                <c:pt idx="0">
                  <c:v>EV_Int Prod</c:v>
                </c:pt>
              </c:strCache>
            </c:strRef>
          </c:tx>
          <c:spPr>
            <a:ln w="19050">
              <a:solidFill>
                <a:srgbClr val="C00000"/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rgbClr val="C00000"/>
                </a:solidFill>
              </a:ln>
            </c:spPr>
          </c:marker>
          <c:cat>
            <c:strRef>
              <c:f>Sheet1!$A$2:$A$32</c:f>
              <c:strCache>
                <c:ptCount val="31"/>
                <c:pt idx="0">
                  <c:v>省份1</c:v>
                </c:pt>
                <c:pt idx="1">
                  <c:v>省份2</c:v>
                </c:pt>
                <c:pt idx="2">
                  <c:v>省份3</c:v>
                </c:pt>
                <c:pt idx="3">
                  <c:v>省份4</c:v>
                </c:pt>
                <c:pt idx="4">
                  <c:v>省份5</c:v>
                </c:pt>
                <c:pt idx="5">
                  <c:v>省份6</c:v>
                </c:pt>
                <c:pt idx="6">
                  <c:v>省份7</c:v>
                </c:pt>
                <c:pt idx="7">
                  <c:v>省份8</c:v>
                </c:pt>
                <c:pt idx="8">
                  <c:v>省份9</c:v>
                </c:pt>
                <c:pt idx="9">
                  <c:v>省份10</c:v>
                </c:pt>
                <c:pt idx="10">
                  <c:v>省份11</c:v>
                </c:pt>
                <c:pt idx="11">
                  <c:v>省份12</c:v>
                </c:pt>
                <c:pt idx="12">
                  <c:v>省份13</c:v>
                </c:pt>
                <c:pt idx="13">
                  <c:v>省份14</c:v>
                </c:pt>
                <c:pt idx="14">
                  <c:v>省份15</c:v>
                </c:pt>
                <c:pt idx="15">
                  <c:v>省份16</c:v>
                </c:pt>
                <c:pt idx="16">
                  <c:v>省份17</c:v>
                </c:pt>
                <c:pt idx="17">
                  <c:v>省份18</c:v>
                </c:pt>
                <c:pt idx="18">
                  <c:v>省份19</c:v>
                </c:pt>
                <c:pt idx="19">
                  <c:v>省份20</c:v>
                </c:pt>
                <c:pt idx="20">
                  <c:v>省份21</c:v>
                </c:pt>
                <c:pt idx="21">
                  <c:v>省份22</c:v>
                </c:pt>
                <c:pt idx="22">
                  <c:v>省份23</c:v>
                </c:pt>
                <c:pt idx="23">
                  <c:v>省份24</c:v>
                </c:pt>
                <c:pt idx="24">
                  <c:v>省份25</c:v>
                </c:pt>
                <c:pt idx="25">
                  <c:v>省份26</c:v>
                </c:pt>
                <c:pt idx="26">
                  <c:v>省份27</c:v>
                </c:pt>
                <c:pt idx="27">
                  <c:v>省份28</c:v>
                </c:pt>
                <c:pt idx="28">
                  <c:v>省份29</c:v>
                </c:pt>
                <c:pt idx="29">
                  <c:v>省份30</c:v>
                </c:pt>
                <c:pt idx="30">
                  <c:v>省份31</c:v>
                </c:pt>
              </c:strCache>
            </c:strRef>
          </c:cat>
          <c:val>
            <c:numRef>
              <c:f>Sheet1!$F$2:$F$32</c:f>
              <c:numCache>
                <c:formatCode>0</c:formatCode>
                <c:ptCount val="31"/>
                <c:pt idx="0">
                  <c:v>100</c:v>
                </c:pt>
                <c:pt idx="1">
                  <c:v>101</c:v>
                </c:pt>
                <c:pt idx="2">
                  <c:v>102</c:v>
                </c:pt>
                <c:pt idx="3">
                  <c:v>103</c:v>
                </c:pt>
                <c:pt idx="4">
                  <c:v>104</c:v>
                </c:pt>
                <c:pt idx="5">
                  <c:v>100</c:v>
                </c:pt>
                <c:pt idx="6">
                  <c:v>101</c:v>
                </c:pt>
                <c:pt idx="7">
                  <c:v>102</c:v>
                </c:pt>
                <c:pt idx="8">
                  <c:v>103</c:v>
                </c:pt>
                <c:pt idx="9">
                  <c:v>104</c:v>
                </c:pt>
                <c:pt idx="10">
                  <c:v>100</c:v>
                </c:pt>
                <c:pt idx="11">
                  <c:v>101</c:v>
                </c:pt>
                <c:pt idx="12">
                  <c:v>102</c:v>
                </c:pt>
                <c:pt idx="13">
                  <c:v>103</c:v>
                </c:pt>
                <c:pt idx="14">
                  <c:v>104</c:v>
                </c:pt>
                <c:pt idx="15">
                  <c:v>100</c:v>
                </c:pt>
                <c:pt idx="16">
                  <c:v>101</c:v>
                </c:pt>
                <c:pt idx="17">
                  <c:v>102</c:v>
                </c:pt>
                <c:pt idx="18">
                  <c:v>103</c:v>
                </c:pt>
                <c:pt idx="19">
                  <c:v>104</c:v>
                </c:pt>
                <c:pt idx="20">
                  <c:v>100</c:v>
                </c:pt>
                <c:pt idx="21">
                  <c:v>101</c:v>
                </c:pt>
                <c:pt idx="22">
                  <c:v>102</c:v>
                </c:pt>
                <c:pt idx="23">
                  <c:v>103</c:v>
                </c:pt>
                <c:pt idx="24">
                  <c:v>104</c:v>
                </c:pt>
                <c:pt idx="25">
                  <c:v>100</c:v>
                </c:pt>
                <c:pt idx="26">
                  <c:v>101</c:v>
                </c:pt>
                <c:pt idx="27">
                  <c:v>102</c:v>
                </c:pt>
                <c:pt idx="28">
                  <c:v>103</c:v>
                </c:pt>
                <c:pt idx="29">
                  <c:v>104</c:v>
                </c:pt>
                <c:pt idx="30">
                  <c:v>1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76B-4CF0-96C5-585EDF8206FE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EV_Competitor1</c:v>
                </c:pt>
              </c:strCache>
            </c:strRef>
          </c:tx>
          <c:spPr>
            <a:ln w="19050">
              <a:solidFill>
                <a:schemeClr val="accent1">
                  <a:lumMod val="75000"/>
                </a:schemeClr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1">
                    <a:lumMod val="75000"/>
                  </a:schemeClr>
                </a:solidFill>
              </a:ln>
            </c:spPr>
          </c:marker>
          <c:cat>
            <c:strRef>
              <c:f>Sheet1!$A$2:$A$32</c:f>
              <c:strCache>
                <c:ptCount val="31"/>
                <c:pt idx="0">
                  <c:v>省份1</c:v>
                </c:pt>
                <c:pt idx="1">
                  <c:v>省份2</c:v>
                </c:pt>
                <c:pt idx="2">
                  <c:v>省份3</c:v>
                </c:pt>
                <c:pt idx="3">
                  <c:v>省份4</c:v>
                </c:pt>
                <c:pt idx="4">
                  <c:v>省份5</c:v>
                </c:pt>
                <c:pt idx="5">
                  <c:v>省份6</c:v>
                </c:pt>
                <c:pt idx="6">
                  <c:v>省份7</c:v>
                </c:pt>
                <c:pt idx="7">
                  <c:v>省份8</c:v>
                </c:pt>
                <c:pt idx="8">
                  <c:v>省份9</c:v>
                </c:pt>
                <c:pt idx="9">
                  <c:v>省份10</c:v>
                </c:pt>
                <c:pt idx="10">
                  <c:v>省份11</c:v>
                </c:pt>
                <c:pt idx="11">
                  <c:v>省份12</c:v>
                </c:pt>
                <c:pt idx="12">
                  <c:v>省份13</c:v>
                </c:pt>
                <c:pt idx="13">
                  <c:v>省份14</c:v>
                </c:pt>
                <c:pt idx="14">
                  <c:v>省份15</c:v>
                </c:pt>
                <c:pt idx="15">
                  <c:v>省份16</c:v>
                </c:pt>
                <c:pt idx="16">
                  <c:v>省份17</c:v>
                </c:pt>
                <c:pt idx="17">
                  <c:v>省份18</c:v>
                </c:pt>
                <c:pt idx="18">
                  <c:v>省份19</c:v>
                </c:pt>
                <c:pt idx="19">
                  <c:v>省份20</c:v>
                </c:pt>
                <c:pt idx="20">
                  <c:v>省份21</c:v>
                </c:pt>
                <c:pt idx="21">
                  <c:v>省份22</c:v>
                </c:pt>
                <c:pt idx="22">
                  <c:v>省份23</c:v>
                </c:pt>
                <c:pt idx="23">
                  <c:v>省份24</c:v>
                </c:pt>
                <c:pt idx="24">
                  <c:v>省份25</c:v>
                </c:pt>
                <c:pt idx="25">
                  <c:v>省份26</c:v>
                </c:pt>
                <c:pt idx="26">
                  <c:v>省份27</c:v>
                </c:pt>
                <c:pt idx="27">
                  <c:v>省份28</c:v>
                </c:pt>
                <c:pt idx="28">
                  <c:v>省份29</c:v>
                </c:pt>
                <c:pt idx="29">
                  <c:v>省份30</c:v>
                </c:pt>
                <c:pt idx="30">
                  <c:v>省份31</c:v>
                </c:pt>
              </c:strCache>
            </c:strRef>
          </c:cat>
          <c:val>
            <c:numRef>
              <c:f>Sheet1!$G$2:$G$32</c:f>
              <c:numCache>
                <c:formatCode>0</c:formatCode>
                <c:ptCount val="31"/>
                <c:pt idx="0">
                  <c:v>95</c:v>
                </c:pt>
                <c:pt idx="1">
                  <c:v>96</c:v>
                </c:pt>
                <c:pt idx="2">
                  <c:v>97</c:v>
                </c:pt>
                <c:pt idx="3">
                  <c:v>98</c:v>
                </c:pt>
                <c:pt idx="4">
                  <c:v>99</c:v>
                </c:pt>
                <c:pt idx="5">
                  <c:v>95</c:v>
                </c:pt>
                <c:pt idx="6">
                  <c:v>96</c:v>
                </c:pt>
                <c:pt idx="7">
                  <c:v>97</c:v>
                </c:pt>
                <c:pt idx="8">
                  <c:v>98</c:v>
                </c:pt>
                <c:pt idx="9">
                  <c:v>99</c:v>
                </c:pt>
                <c:pt idx="10">
                  <c:v>95</c:v>
                </c:pt>
                <c:pt idx="11">
                  <c:v>96</c:v>
                </c:pt>
                <c:pt idx="12">
                  <c:v>97</c:v>
                </c:pt>
                <c:pt idx="13">
                  <c:v>98</c:v>
                </c:pt>
                <c:pt idx="14">
                  <c:v>99</c:v>
                </c:pt>
                <c:pt idx="15">
                  <c:v>95</c:v>
                </c:pt>
                <c:pt idx="16">
                  <c:v>96</c:v>
                </c:pt>
                <c:pt idx="17">
                  <c:v>97</c:v>
                </c:pt>
                <c:pt idx="18">
                  <c:v>98</c:v>
                </c:pt>
                <c:pt idx="19">
                  <c:v>99</c:v>
                </c:pt>
                <c:pt idx="20">
                  <c:v>95</c:v>
                </c:pt>
                <c:pt idx="21">
                  <c:v>96</c:v>
                </c:pt>
                <c:pt idx="22">
                  <c:v>97</c:v>
                </c:pt>
                <c:pt idx="23">
                  <c:v>98</c:v>
                </c:pt>
                <c:pt idx="24">
                  <c:v>99</c:v>
                </c:pt>
                <c:pt idx="25">
                  <c:v>95</c:v>
                </c:pt>
                <c:pt idx="26">
                  <c:v>96</c:v>
                </c:pt>
                <c:pt idx="27">
                  <c:v>97</c:v>
                </c:pt>
                <c:pt idx="28">
                  <c:v>98</c:v>
                </c:pt>
                <c:pt idx="29">
                  <c:v>99</c:v>
                </c:pt>
                <c:pt idx="30">
                  <c:v>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76B-4CF0-96C5-585EDF8206FE}"/>
            </c:ext>
          </c:extLst>
        </c:ser>
        <c:ser>
          <c:idx val="7"/>
          <c:order val="6"/>
          <c:tx>
            <c:strRef>
              <c:f>Sheet1!$H$1</c:f>
              <c:strCache>
                <c:ptCount val="1"/>
                <c:pt idx="0">
                  <c:v>EV_Competitor2</c:v>
                </c:pt>
              </c:strCache>
            </c:strRef>
          </c:tx>
          <c:spPr>
            <a:ln w="19050">
              <a:solidFill>
                <a:schemeClr val="accent2">
                  <a:lumMod val="75000"/>
                </a:schemeClr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2">
                    <a:lumMod val="75000"/>
                  </a:schemeClr>
                </a:solidFill>
              </a:ln>
            </c:spPr>
          </c:marker>
          <c:cat>
            <c:strRef>
              <c:f>Sheet1!$A$2:$A$32</c:f>
              <c:strCache>
                <c:ptCount val="31"/>
                <c:pt idx="0">
                  <c:v>省份1</c:v>
                </c:pt>
                <c:pt idx="1">
                  <c:v>省份2</c:v>
                </c:pt>
                <c:pt idx="2">
                  <c:v>省份3</c:v>
                </c:pt>
                <c:pt idx="3">
                  <c:v>省份4</c:v>
                </c:pt>
                <c:pt idx="4">
                  <c:v>省份5</c:v>
                </c:pt>
                <c:pt idx="5">
                  <c:v>省份6</c:v>
                </c:pt>
                <c:pt idx="6">
                  <c:v>省份7</c:v>
                </c:pt>
                <c:pt idx="7">
                  <c:v>省份8</c:v>
                </c:pt>
                <c:pt idx="8">
                  <c:v>省份9</c:v>
                </c:pt>
                <c:pt idx="9">
                  <c:v>省份10</c:v>
                </c:pt>
                <c:pt idx="10">
                  <c:v>省份11</c:v>
                </c:pt>
                <c:pt idx="11">
                  <c:v>省份12</c:v>
                </c:pt>
                <c:pt idx="12">
                  <c:v>省份13</c:v>
                </c:pt>
                <c:pt idx="13">
                  <c:v>省份14</c:v>
                </c:pt>
                <c:pt idx="14">
                  <c:v>省份15</c:v>
                </c:pt>
                <c:pt idx="15">
                  <c:v>省份16</c:v>
                </c:pt>
                <c:pt idx="16">
                  <c:v>省份17</c:v>
                </c:pt>
                <c:pt idx="17">
                  <c:v>省份18</c:v>
                </c:pt>
                <c:pt idx="18">
                  <c:v>省份19</c:v>
                </c:pt>
                <c:pt idx="19">
                  <c:v>省份20</c:v>
                </c:pt>
                <c:pt idx="20">
                  <c:v>省份21</c:v>
                </c:pt>
                <c:pt idx="21">
                  <c:v>省份22</c:v>
                </c:pt>
                <c:pt idx="22">
                  <c:v>省份23</c:v>
                </c:pt>
                <c:pt idx="23">
                  <c:v>省份24</c:v>
                </c:pt>
                <c:pt idx="24">
                  <c:v>省份25</c:v>
                </c:pt>
                <c:pt idx="25">
                  <c:v>省份26</c:v>
                </c:pt>
                <c:pt idx="26">
                  <c:v>省份27</c:v>
                </c:pt>
                <c:pt idx="27">
                  <c:v>省份28</c:v>
                </c:pt>
                <c:pt idx="28">
                  <c:v>省份29</c:v>
                </c:pt>
                <c:pt idx="29">
                  <c:v>省份30</c:v>
                </c:pt>
                <c:pt idx="30">
                  <c:v>省份31</c:v>
                </c:pt>
              </c:strCache>
            </c:strRef>
          </c:cat>
          <c:val>
            <c:numRef>
              <c:f>Sheet1!$H$2:$H$32</c:f>
              <c:numCache>
                <c:formatCode>0</c:formatCode>
                <c:ptCount val="31"/>
                <c:pt idx="0">
                  <c:v>90</c:v>
                </c:pt>
                <c:pt idx="1">
                  <c:v>90</c:v>
                </c:pt>
                <c:pt idx="2">
                  <c:v>90</c:v>
                </c:pt>
                <c:pt idx="3">
                  <c:v>90</c:v>
                </c:pt>
                <c:pt idx="4">
                  <c:v>90</c:v>
                </c:pt>
                <c:pt idx="5">
                  <c:v>90</c:v>
                </c:pt>
                <c:pt idx="6">
                  <c:v>90</c:v>
                </c:pt>
                <c:pt idx="7">
                  <c:v>90</c:v>
                </c:pt>
                <c:pt idx="8">
                  <c:v>90</c:v>
                </c:pt>
                <c:pt idx="9">
                  <c:v>90</c:v>
                </c:pt>
                <c:pt idx="10">
                  <c:v>90</c:v>
                </c:pt>
                <c:pt idx="11">
                  <c:v>90</c:v>
                </c:pt>
                <c:pt idx="12">
                  <c:v>90</c:v>
                </c:pt>
                <c:pt idx="13">
                  <c:v>90</c:v>
                </c:pt>
                <c:pt idx="14">
                  <c:v>90</c:v>
                </c:pt>
                <c:pt idx="15">
                  <c:v>90</c:v>
                </c:pt>
                <c:pt idx="16">
                  <c:v>90</c:v>
                </c:pt>
                <c:pt idx="17">
                  <c:v>90</c:v>
                </c:pt>
                <c:pt idx="18">
                  <c:v>90</c:v>
                </c:pt>
                <c:pt idx="19">
                  <c:v>90</c:v>
                </c:pt>
                <c:pt idx="20">
                  <c:v>90</c:v>
                </c:pt>
                <c:pt idx="21">
                  <c:v>90</c:v>
                </c:pt>
                <c:pt idx="22">
                  <c:v>90</c:v>
                </c:pt>
                <c:pt idx="23">
                  <c:v>90</c:v>
                </c:pt>
                <c:pt idx="24">
                  <c:v>90</c:v>
                </c:pt>
                <c:pt idx="25">
                  <c:v>90</c:v>
                </c:pt>
                <c:pt idx="26">
                  <c:v>90</c:v>
                </c:pt>
                <c:pt idx="27">
                  <c:v>90</c:v>
                </c:pt>
                <c:pt idx="28">
                  <c:v>90</c:v>
                </c:pt>
                <c:pt idx="29">
                  <c:v>90</c:v>
                </c:pt>
                <c:pt idx="30">
                  <c:v>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376B-4CF0-96C5-585EDF8206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22738960"/>
        <c:axId val="522738568"/>
      </c:lineChart>
      <c:catAx>
        <c:axId val="5227479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522737784"/>
        <c:crosses val="autoZero"/>
        <c:auto val="1"/>
        <c:lblAlgn val="ctr"/>
        <c:lblOffset val="100"/>
        <c:noMultiLvlLbl val="0"/>
      </c:catAx>
      <c:valAx>
        <c:axId val="522737784"/>
        <c:scaling>
          <c:orientation val="minMax"/>
          <c:max val="1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altLang="zh-CN" dirty="0"/>
                  <a:t>Share</a:t>
                </a:r>
                <a:endParaRPr lang="zh-CN" dirty="0"/>
              </a:p>
            </c:rich>
          </c:tx>
          <c:layout>
            <c:manualLayout>
              <c:xMode val="edge"/>
              <c:yMode val="edge"/>
              <c:x val="9.3689986760504509E-2"/>
              <c:y val="3.5400272566550428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522747976"/>
        <c:crosses val="autoZero"/>
        <c:crossBetween val="between"/>
      </c:valAx>
      <c:valAx>
        <c:axId val="522738568"/>
        <c:scaling>
          <c:orientation val="minMax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altLang="zh-CN" dirty="0"/>
                  <a:t>EV</a:t>
                </a:r>
              </a:p>
            </c:rich>
          </c:tx>
          <c:layout>
            <c:manualLayout>
              <c:xMode val="edge"/>
              <c:yMode val="edge"/>
              <c:x val="0.97336863064530732"/>
              <c:y val="3.6121772258864621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#,##0_);[Red]\(#,##0\)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522738960"/>
        <c:crosses val="max"/>
        <c:crossBetween val="between"/>
      </c:valAx>
      <c:catAx>
        <c:axId val="52273896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22738568"/>
        <c:crosses val="autoZero"/>
        <c:auto val="1"/>
        <c:lblAlgn val="ctr"/>
        <c:lblOffset val="100"/>
        <c:noMultiLvlLbl val="0"/>
      </c:cat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/>
          <a:lstStyle/>
          <a:p>
            <a:pPr rtl="0">
              <a:defRPr sz="700">
                <a:latin typeface="+mj-lt"/>
              </a:defRPr>
            </a:pPr>
            <a:endParaRPr lang="zh-CN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>
          <a:latin typeface="+mj-lt"/>
        </a:defRPr>
      </a:pPr>
      <a:endParaRPr lang="zh-CN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935858128353424"/>
          <c:y val="3.9855083834041946E-2"/>
          <c:w val="0.79692228183866398"/>
          <c:h val="0.57233383896320866"/>
        </c:manualLayout>
      </c:layout>
      <c:barChart>
        <c:barDir val="col"/>
        <c:grouping val="stacked"/>
        <c:varyColors val="0"/>
        <c:ser>
          <c:idx val="3"/>
          <c:order val="0"/>
          <c:tx>
            <c:strRef>
              <c:f>Sheet1!$E$1</c:f>
              <c:strCache>
                <c:ptCount val="1"/>
                <c:pt idx="0">
                  <c:v>Others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6350">
              <a:solidFill>
                <a:schemeClr val="bg1"/>
              </a:solidFill>
              <a:prstDash val="solid"/>
            </a:ln>
          </c:spPr>
          <c:invertIfNegative val="0"/>
          <c:cat>
            <c:strRef>
              <c:f>Sheet1!$A$2:$A$32</c:f>
              <c:strCache>
                <c:ptCount val="31"/>
                <c:pt idx="0">
                  <c:v>省份1</c:v>
                </c:pt>
                <c:pt idx="1">
                  <c:v>省份2</c:v>
                </c:pt>
                <c:pt idx="2">
                  <c:v>省份3</c:v>
                </c:pt>
                <c:pt idx="3">
                  <c:v>省份4</c:v>
                </c:pt>
                <c:pt idx="4">
                  <c:v>省份5</c:v>
                </c:pt>
                <c:pt idx="5">
                  <c:v>省份6</c:v>
                </c:pt>
                <c:pt idx="6">
                  <c:v>省份7</c:v>
                </c:pt>
                <c:pt idx="7">
                  <c:v>省份8</c:v>
                </c:pt>
                <c:pt idx="8">
                  <c:v>省份9</c:v>
                </c:pt>
                <c:pt idx="9">
                  <c:v>省份10</c:v>
                </c:pt>
                <c:pt idx="10">
                  <c:v>省份11</c:v>
                </c:pt>
                <c:pt idx="11">
                  <c:v>省份12</c:v>
                </c:pt>
                <c:pt idx="12">
                  <c:v>省份13</c:v>
                </c:pt>
                <c:pt idx="13">
                  <c:v>省份14</c:v>
                </c:pt>
                <c:pt idx="14">
                  <c:v>省份15</c:v>
                </c:pt>
                <c:pt idx="15">
                  <c:v>省份16</c:v>
                </c:pt>
                <c:pt idx="16">
                  <c:v>省份17</c:v>
                </c:pt>
                <c:pt idx="17">
                  <c:v>省份18</c:v>
                </c:pt>
                <c:pt idx="18">
                  <c:v>省份19</c:v>
                </c:pt>
                <c:pt idx="19">
                  <c:v>省份20</c:v>
                </c:pt>
                <c:pt idx="20">
                  <c:v>省份21</c:v>
                </c:pt>
                <c:pt idx="21">
                  <c:v>省份22</c:v>
                </c:pt>
                <c:pt idx="22">
                  <c:v>省份23</c:v>
                </c:pt>
                <c:pt idx="23">
                  <c:v>省份24</c:v>
                </c:pt>
                <c:pt idx="24">
                  <c:v>省份25</c:v>
                </c:pt>
                <c:pt idx="25">
                  <c:v>省份26</c:v>
                </c:pt>
                <c:pt idx="26">
                  <c:v>省份27</c:v>
                </c:pt>
                <c:pt idx="27">
                  <c:v>省份28</c:v>
                </c:pt>
                <c:pt idx="28">
                  <c:v>省份29</c:v>
                </c:pt>
                <c:pt idx="29">
                  <c:v>省份30</c:v>
                </c:pt>
                <c:pt idx="30">
                  <c:v>省份31</c:v>
                </c:pt>
              </c:strCache>
            </c:strRef>
          </c:cat>
          <c:val>
            <c:numRef>
              <c:f>Sheet1!$E$2:$E$32</c:f>
              <c:numCache>
                <c:formatCode>0.0%</c:formatCode>
                <c:ptCount val="31"/>
                <c:pt idx="0">
                  <c:v>0.81</c:v>
                </c:pt>
                <c:pt idx="1">
                  <c:v>0.81</c:v>
                </c:pt>
                <c:pt idx="2">
                  <c:v>0.81</c:v>
                </c:pt>
                <c:pt idx="3">
                  <c:v>0.81</c:v>
                </c:pt>
                <c:pt idx="4">
                  <c:v>0.81</c:v>
                </c:pt>
                <c:pt idx="5">
                  <c:v>0.81</c:v>
                </c:pt>
                <c:pt idx="6">
                  <c:v>0.81</c:v>
                </c:pt>
                <c:pt idx="7">
                  <c:v>0.81</c:v>
                </c:pt>
                <c:pt idx="8">
                  <c:v>0.81</c:v>
                </c:pt>
                <c:pt idx="9">
                  <c:v>0.81</c:v>
                </c:pt>
                <c:pt idx="10">
                  <c:v>0.81</c:v>
                </c:pt>
                <c:pt idx="11">
                  <c:v>0.81</c:v>
                </c:pt>
                <c:pt idx="12">
                  <c:v>0.81</c:v>
                </c:pt>
                <c:pt idx="13">
                  <c:v>0.81</c:v>
                </c:pt>
                <c:pt idx="14">
                  <c:v>0.81</c:v>
                </c:pt>
                <c:pt idx="15">
                  <c:v>0.81</c:v>
                </c:pt>
                <c:pt idx="16">
                  <c:v>0.81</c:v>
                </c:pt>
                <c:pt idx="17">
                  <c:v>0.81</c:v>
                </c:pt>
                <c:pt idx="18">
                  <c:v>0.81</c:v>
                </c:pt>
                <c:pt idx="19">
                  <c:v>0.81</c:v>
                </c:pt>
                <c:pt idx="20">
                  <c:v>0.81</c:v>
                </c:pt>
                <c:pt idx="21">
                  <c:v>0.81</c:v>
                </c:pt>
                <c:pt idx="22">
                  <c:v>0.81</c:v>
                </c:pt>
                <c:pt idx="23">
                  <c:v>0.81</c:v>
                </c:pt>
                <c:pt idx="24">
                  <c:v>0.81</c:v>
                </c:pt>
                <c:pt idx="25">
                  <c:v>0.81</c:v>
                </c:pt>
                <c:pt idx="26">
                  <c:v>0.81</c:v>
                </c:pt>
                <c:pt idx="27">
                  <c:v>0.81</c:v>
                </c:pt>
                <c:pt idx="28">
                  <c:v>0.81</c:v>
                </c:pt>
                <c:pt idx="29">
                  <c:v>0.81</c:v>
                </c:pt>
                <c:pt idx="30">
                  <c:v>0.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78-402F-92A6-308A76459F3E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Competitor2</c:v>
                </c:pt>
              </c:strCache>
            </c:strRef>
          </c:tx>
          <c:spPr>
            <a:solidFill>
              <a:schemeClr val="accent2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32</c:f>
              <c:strCache>
                <c:ptCount val="31"/>
                <c:pt idx="0">
                  <c:v>省份1</c:v>
                </c:pt>
                <c:pt idx="1">
                  <c:v>省份2</c:v>
                </c:pt>
                <c:pt idx="2">
                  <c:v>省份3</c:v>
                </c:pt>
                <c:pt idx="3">
                  <c:v>省份4</c:v>
                </c:pt>
                <c:pt idx="4">
                  <c:v>省份5</c:v>
                </c:pt>
                <c:pt idx="5">
                  <c:v>省份6</c:v>
                </c:pt>
                <c:pt idx="6">
                  <c:v>省份7</c:v>
                </c:pt>
                <c:pt idx="7">
                  <c:v>省份8</c:v>
                </c:pt>
                <c:pt idx="8">
                  <c:v>省份9</c:v>
                </c:pt>
                <c:pt idx="9">
                  <c:v>省份10</c:v>
                </c:pt>
                <c:pt idx="10">
                  <c:v>省份11</c:v>
                </c:pt>
                <c:pt idx="11">
                  <c:v>省份12</c:v>
                </c:pt>
                <c:pt idx="12">
                  <c:v>省份13</c:v>
                </c:pt>
                <c:pt idx="13">
                  <c:v>省份14</c:v>
                </c:pt>
                <c:pt idx="14">
                  <c:v>省份15</c:v>
                </c:pt>
                <c:pt idx="15">
                  <c:v>省份16</c:v>
                </c:pt>
                <c:pt idx="16">
                  <c:v>省份17</c:v>
                </c:pt>
                <c:pt idx="17">
                  <c:v>省份18</c:v>
                </c:pt>
                <c:pt idx="18">
                  <c:v>省份19</c:v>
                </c:pt>
                <c:pt idx="19">
                  <c:v>省份20</c:v>
                </c:pt>
                <c:pt idx="20">
                  <c:v>省份21</c:v>
                </c:pt>
                <c:pt idx="21">
                  <c:v>省份22</c:v>
                </c:pt>
                <c:pt idx="22">
                  <c:v>省份23</c:v>
                </c:pt>
                <c:pt idx="23">
                  <c:v>省份24</c:v>
                </c:pt>
                <c:pt idx="24">
                  <c:v>省份25</c:v>
                </c:pt>
                <c:pt idx="25">
                  <c:v>省份26</c:v>
                </c:pt>
                <c:pt idx="26">
                  <c:v>省份27</c:v>
                </c:pt>
                <c:pt idx="27">
                  <c:v>省份28</c:v>
                </c:pt>
                <c:pt idx="28">
                  <c:v>省份29</c:v>
                </c:pt>
                <c:pt idx="29">
                  <c:v>省份30</c:v>
                </c:pt>
                <c:pt idx="30">
                  <c:v>省份31</c:v>
                </c:pt>
              </c:strCache>
            </c:strRef>
          </c:cat>
          <c:val>
            <c:numRef>
              <c:f>Sheet1!$D$2:$D$32</c:f>
              <c:numCache>
                <c:formatCode>0.0%</c:formatCode>
                <c:ptCount val="31"/>
                <c:pt idx="0">
                  <c:v>0.06</c:v>
                </c:pt>
                <c:pt idx="1">
                  <c:v>0.06</c:v>
                </c:pt>
                <c:pt idx="2">
                  <c:v>0.06</c:v>
                </c:pt>
                <c:pt idx="3">
                  <c:v>0.06</c:v>
                </c:pt>
                <c:pt idx="4">
                  <c:v>0.06</c:v>
                </c:pt>
                <c:pt idx="5">
                  <c:v>0.06</c:v>
                </c:pt>
                <c:pt idx="6">
                  <c:v>0.06</c:v>
                </c:pt>
                <c:pt idx="7">
                  <c:v>0.06</c:v>
                </c:pt>
                <c:pt idx="8">
                  <c:v>0.06</c:v>
                </c:pt>
                <c:pt idx="9">
                  <c:v>0.06</c:v>
                </c:pt>
                <c:pt idx="10">
                  <c:v>0.06</c:v>
                </c:pt>
                <c:pt idx="11">
                  <c:v>0.06</c:v>
                </c:pt>
                <c:pt idx="12">
                  <c:v>0.06</c:v>
                </c:pt>
                <c:pt idx="13">
                  <c:v>0.06</c:v>
                </c:pt>
                <c:pt idx="14">
                  <c:v>0.06</c:v>
                </c:pt>
                <c:pt idx="15">
                  <c:v>0.06</c:v>
                </c:pt>
                <c:pt idx="16">
                  <c:v>0.06</c:v>
                </c:pt>
                <c:pt idx="17">
                  <c:v>0.06</c:v>
                </c:pt>
                <c:pt idx="18">
                  <c:v>0.06</c:v>
                </c:pt>
                <c:pt idx="19">
                  <c:v>0.06</c:v>
                </c:pt>
                <c:pt idx="20">
                  <c:v>0.06</c:v>
                </c:pt>
                <c:pt idx="21">
                  <c:v>0.06</c:v>
                </c:pt>
                <c:pt idx="22">
                  <c:v>0.06</c:v>
                </c:pt>
                <c:pt idx="23">
                  <c:v>0.06</c:v>
                </c:pt>
                <c:pt idx="24">
                  <c:v>0.06</c:v>
                </c:pt>
                <c:pt idx="25">
                  <c:v>0.06</c:v>
                </c:pt>
                <c:pt idx="26">
                  <c:v>0.06</c:v>
                </c:pt>
                <c:pt idx="27">
                  <c:v>0.06</c:v>
                </c:pt>
                <c:pt idx="28">
                  <c:v>0.06</c:v>
                </c:pt>
                <c:pt idx="29">
                  <c:v>0.06</c:v>
                </c:pt>
                <c:pt idx="30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078-402F-92A6-308A76459F3E}"/>
            </c:ext>
          </c:extLst>
        </c:ser>
        <c:ser>
          <c:idx val="1"/>
          <c:order val="2"/>
          <c:tx>
            <c:strRef>
              <c:f>Sheet1!$C$1</c:f>
              <c:strCache>
                <c:ptCount val="1"/>
                <c:pt idx="0">
                  <c:v>Competitor1</c:v>
                </c:pt>
              </c:strCache>
            </c:strRef>
          </c:tx>
          <c:spPr>
            <a:solidFill>
              <a:schemeClr val="accent1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32</c:f>
              <c:strCache>
                <c:ptCount val="31"/>
                <c:pt idx="0">
                  <c:v>省份1</c:v>
                </c:pt>
                <c:pt idx="1">
                  <c:v>省份2</c:v>
                </c:pt>
                <c:pt idx="2">
                  <c:v>省份3</c:v>
                </c:pt>
                <c:pt idx="3">
                  <c:v>省份4</c:v>
                </c:pt>
                <c:pt idx="4">
                  <c:v>省份5</c:v>
                </c:pt>
                <c:pt idx="5">
                  <c:v>省份6</c:v>
                </c:pt>
                <c:pt idx="6">
                  <c:v>省份7</c:v>
                </c:pt>
                <c:pt idx="7">
                  <c:v>省份8</c:v>
                </c:pt>
                <c:pt idx="8">
                  <c:v>省份9</c:v>
                </c:pt>
                <c:pt idx="9">
                  <c:v>省份10</c:v>
                </c:pt>
                <c:pt idx="10">
                  <c:v>省份11</c:v>
                </c:pt>
                <c:pt idx="11">
                  <c:v>省份12</c:v>
                </c:pt>
                <c:pt idx="12">
                  <c:v>省份13</c:v>
                </c:pt>
                <c:pt idx="13">
                  <c:v>省份14</c:v>
                </c:pt>
                <c:pt idx="14">
                  <c:v>省份15</c:v>
                </c:pt>
                <c:pt idx="15">
                  <c:v>省份16</c:v>
                </c:pt>
                <c:pt idx="16">
                  <c:v>省份17</c:v>
                </c:pt>
                <c:pt idx="17">
                  <c:v>省份18</c:v>
                </c:pt>
                <c:pt idx="18">
                  <c:v>省份19</c:v>
                </c:pt>
                <c:pt idx="19">
                  <c:v>省份20</c:v>
                </c:pt>
                <c:pt idx="20">
                  <c:v>省份21</c:v>
                </c:pt>
                <c:pt idx="21">
                  <c:v>省份22</c:v>
                </c:pt>
                <c:pt idx="22">
                  <c:v>省份23</c:v>
                </c:pt>
                <c:pt idx="23">
                  <c:v>省份24</c:v>
                </c:pt>
                <c:pt idx="24">
                  <c:v>省份25</c:v>
                </c:pt>
                <c:pt idx="25">
                  <c:v>省份26</c:v>
                </c:pt>
                <c:pt idx="26">
                  <c:v>省份27</c:v>
                </c:pt>
                <c:pt idx="27">
                  <c:v>省份28</c:v>
                </c:pt>
                <c:pt idx="28">
                  <c:v>省份29</c:v>
                </c:pt>
                <c:pt idx="29">
                  <c:v>省份30</c:v>
                </c:pt>
                <c:pt idx="30">
                  <c:v>省份31</c:v>
                </c:pt>
              </c:strCache>
            </c:strRef>
          </c:cat>
          <c:val>
            <c:numRef>
              <c:f>Sheet1!$C$2:$C$32</c:f>
              <c:numCache>
                <c:formatCode>0.0%</c:formatCode>
                <c:ptCount val="31"/>
                <c:pt idx="0">
                  <c:v>0.08</c:v>
                </c:pt>
                <c:pt idx="1">
                  <c:v>0.08</c:v>
                </c:pt>
                <c:pt idx="2">
                  <c:v>0.08</c:v>
                </c:pt>
                <c:pt idx="3">
                  <c:v>0.08</c:v>
                </c:pt>
                <c:pt idx="4">
                  <c:v>0.08</c:v>
                </c:pt>
                <c:pt idx="5">
                  <c:v>0.08</c:v>
                </c:pt>
                <c:pt idx="6">
                  <c:v>0.08</c:v>
                </c:pt>
                <c:pt idx="7">
                  <c:v>0.08</c:v>
                </c:pt>
                <c:pt idx="8">
                  <c:v>0.08</c:v>
                </c:pt>
                <c:pt idx="9">
                  <c:v>0.08</c:v>
                </c:pt>
                <c:pt idx="10">
                  <c:v>0.08</c:v>
                </c:pt>
                <c:pt idx="11">
                  <c:v>0.08</c:v>
                </c:pt>
                <c:pt idx="12">
                  <c:v>0.08</c:v>
                </c:pt>
                <c:pt idx="13">
                  <c:v>0.08</c:v>
                </c:pt>
                <c:pt idx="14">
                  <c:v>0.08</c:v>
                </c:pt>
                <c:pt idx="15">
                  <c:v>0.08</c:v>
                </c:pt>
                <c:pt idx="16">
                  <c:v>0.08</c:v>
                </c:pt>
                <c:pt idx="17">
                  <c:v>0.08</c:v>
                </c:pt>
                <c:pt idx="18">
                  <c:v>0.08</c:v>
                </c:pt>
                <c:pt idx="19">
                  <c:v>0.08</c:v>
                </c:pt>
                <c:pt idx="20">
                  <c:v>0.08</c:v>
                </c:pt>
                <c:pt idx="21">
                  <c:v>0.08</c:v>
                </c:pt>
                <c:pt idx="22">
                  <c:v>0.08</c:v>
                </c:pt>
                <c:pt idx="23">
                  <c:v>0.08</c:v>
                </c:pt>
                <c:pt idx="24">
                  <c:v>0.08</c:v>
                </c:pt>
                <c:pt idx="25">
                  <c:v>0.08</c:v>
                </c:pt>
                <c:pt idx="26">
                  <c:v>0.08</c:v>
                </c:pt>
                <c:pt idx="27">
                  <c:v>0.08</c:v>
                </c:pt>
                <c:pt idx="28">
                  <c:v>0.08</c:v>
                </c:pt>
                <c:pt idx="29">
                  <c:v>0.08</c:v>
                </c:pt>
                <c:pt idx="30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078-402F-92A6-308A76459F3E}"/>
            </c:ext>
          </c:extLst>
        </c:ser>
        <c:ser>
          <c:idx val="0"/>
          <c:order val="3"/>
          <c:tx>
            <c:strRef>
              <c:f>Sheet1!$B$1</c:f>
              <c:strCache>
                <c:ptCount val="1"/>
                <c:pt idx="0">
                  <c:v>Int Prod</c:v>
                </c:pt>
              </c:strCache>
            </c:strRef>
          </c:tx>
          <c:spPr>
            <a:solidFill>
              <a:srgbClr val="FF0000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32</c:f>
              <c:strCache>
                <c:ptCount val="31"/>
                <c:pt idx="0">
                  <c:v>省份1</c:v>
                </c:pt>
                <c:pt idx="1">
                  <c:v>省份2</c:v>
                </c:pt>
                <c:pt idx="2">
                  <c:v>省份3</c:v>
                </c:pt>
                <c:pt idx="3">
                  <c:v>省份4</c:v>
                </c:pt>
                <c:pt idx="4">
                  <c:v>省份5</c:v>
                </c:pt>
                <c:pt idx="5">
                  <c:v>省份6</c:v>
                </c:pt>
                <c:pt idx="6">
                  <c:v>省份7</c:v>
                </c:pt>
                <c:pt idx="7">
                  <c:v>省份8</c:v>
                </c:pt>
                <c:pt idx="8">
                  <c:v>省份9</c:v>
                </c:pt>
                <c:pt idx="9">
                  <c:v>省份10</c:v>
                </c:pt>
                <c:pt idx="10">
                  <c:v>省份11</c:v>
                </c:pt>
                <c:pt idx="11">
                  <c:v>省份12</c:v>
                </c:pt>
                <c:pt idx="12">
                  <c:v>省份13</c:v>
                </c:pt>
                <c:pt idx="13">
                  <c:v>省份14</c:v>
                </c:pt>
                <c:pt idx="14">
                  <c:v>省份15</c:v>
                </c:pt>
                <c:pt idx="15">
                  <c:v>省份16</c:v>
                </c:pt>
                <c:pt idx="16">
                  <c:v>省份17</c:v>
                </c:pt>
                <c:pt idx="17">
                  <c:v>省份18</c:v>
                </c:pt>
                <c:pt idx="18">
                  <c:v>省份19</c:v>
                </c:pt>
                <c:pt idx="19">
                  <c:v>省份20</c:v>
                </c:pt>
                <c:pt idx="20">
                  <c:v>省份21</c:v>
                </c:pt>
                <c:pt idx="21">
                  <c:v>省份22</c:v>
                </c:pt>
                <c:pt idx="22">
                  <c:v>省份23</c:v>
                </c:pt>
                <c:pt idx="23">
                  <c:v>省份24</c:v>
                </c:pt>
                <c:pt idx="24">
                  <c:v>省份25</c:v>
                </c:pt>
                <c:pt idx="25">
                  <c:v>省份26</c:v>
                </c:pt>
                <c:pt idx="26">
                  <c:v>省份27</c:v>
                </c:pt>
                <c:pt idx="27">
                  <c:v>省份28</c:v>
                </c:pt>
                <c:pt idx="28">
                  <c:v>省份29</c:v>
                </c:pt>
                <c:pt idx="29">
                  <c:v>省份30</c:v>
                </c:pt>
                <c:pt idx="30">
                  <c:v>省份31</c:v>
                </c:pt>
              </c:strCache>
            </c:strRef>
          </c:cat>
          <c:val>
            <c:numRef>
              <c:f>Sheet1!$B$2:$B$32</c:f>
              <c:numCache>
                <c:formatCode>0.0%</c:formatCode>
                <c:ptCount val="31"/>
                <c:pt idx="0">
                  <c:v>0.05</c:v>
                </c:pt>
                <c:pt idx="1">
                  <c:v>0.05</c:v>
                </c:pt>
                <c:pt idx="2">
                  <c:v>0.05</c:v>
                </c:pt>
                <c:pt idx="3">
                  <c:v>0.05</c:v>
                </c:pt>
                <c:pt idx="4">
                  <c:v>0.05</c:v>
                </c:pt>
                <c:pt idx="5">
                  <c:v>0.05</c:v>
                </c:pt>
                <c:pt idx="6">
                  <c:v>0.05</c:v>
                </c:pt>
                <c:pt idx="7">
                  <c:v>0.05</c:v>
                </c:pt>
                <c:pt idx="8">
                  <c:v>0.05</c:v>
                </c:pt>
                <c:pt idx="9">
                  <c:v>0.05</c:v>
                </c:pt>
                <c:pt idx="10">
                  <c:v>0.05</c:v>
                </c:pt>
                <c:pt idx="11">
                  <c:v>0.05</c:v>
                </c:pt>
                <c:pt idx="12">
                  <c:v>0.05</c:v>
                </c:pt>
                <c:pt idx="13">
                  <c:v>0.05</c:v>
                </c:pt>
                <c:pt idx="14">
                  <c:v>0.05</c:v>
                </c:pt>
                <c:pt idx="15">
                  <c:v>0.05</c:v>
                </c:pt>
                <c:pt idx="16">
                  <c:v>0.05</c:v>
                </c:pt>
                <c:pt idx="17">
                  <c:v>0.05</c:v>
                </c:pt>
                <c:pt idx="18">
                  <c:v>0.05</c:v>
                </c:pt>
                <c:pt idx="19">
                  <c:v>0.05</c:v>
                </c:pt>
                <c:pt idx="20">
                  <c:v>0.05</c:v>
                </c:pt>
                <c:pt idx="21">
                  <c:v>0.05</c:v>
                </c:pt>
                <c:pt idx="22">
                  <c:v>0.05</c:v>
                </c:pt>
                <c:pt idx="23">
                  <c:v>0.05</c:v>
                </c:pt>
                <c:pt idx="24">
                  <c:v>0.05</c:v>
                </c:pt>
                <c:pt idx="25">
                  <c:v>0.05</c:v>
                </c:pt>
                <c:pt idx="26">
                  <c:v>0.05</c:v>
                </c:pt>
                <c:pt idx="27">
                  <c:v>0.05</c:v>
                </c:pt>
                <c:pt idx="28">
                  <c:v>0.05</c:v>
                </c:pt>
                <c:pt idx="29">
                  <c:v>0.05</c:v>
                </c:pt>
                <c:pt idx="30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078-402F-92A6-308A76459F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522740528"/>
        <c:axId val="522741312"/>
      </c:barChart>
      <c:lineChart>
        <c:grouping val="standard"/>
        <c:varyColors val="0"/>
        <c:ser>
          <c:idx val="4"/>
          <c:order val="4"/>
          <c:tx>
            <c:strRef>
              <c:f>Sheet1!$F$1</c:f>
              <c:strCache>
                <c:ptCount val="1"/>
                <c:pt idx="0">
                  <c:v>EV_Int Prod</c:v>
                </c:pt>
              </c:strCache>
            </c:strRef>
          </c:tx>
          <c:spPr>
            <a:ln w="19050">
              <a:solidFill>
                <a:srgbClr val="C00000"/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rgbClr val="C00000"/>
                </a:solidFill>
              </a:ln>
            </c:spPr>
          </c:marker>
          <c:cat>
            <c:strRef>
              <c:f>Sheet1!$A$2:$A$32</c:f>
              <c:strCache>
                <c:ptCount val="31"/>
                <c:pt idx="0">
                  <c:v>省份1</c:v>
                </c:pt>
                <c:pt idx="1">
                  <c:v>省份2</c:v>
                </c:pt>
                <c:pt idx="2">
                  <c:v>省份3</c:v>
                </c:pt>
                <c:pt idx="3">
                  <c:v>省份4</c:v>
                </c:pt>
                <c:pt idx="4">
                  <c:v>省份5</c:v>
                </c:pt>
                <c:pt idx="5">
                  <c:v>省份6</c:v>
                </c:pt>
                <c:pt idx="6">
                  <c:v>省份7</c:v>
                </c:pt>
                <c:pt idx="7">
                  <c:v>省份8</c:v>
                </c:pt>
                <c:pt idx="8">
                  <c:v>省份9</c:v>
                </c:pt>
                <c:pt idx="9">
                  <c:v>省份10</c:v>
                </c:pt>
                <c:pt idx="10">
                  <c:v>省份11</c:v>
                </c:pt>
                <c:pt idx="11">
                  <c:v>省份12</c:v>
                </c:pt>
                <c:pt idx="12">
                  <c:v>省份13</c:v>
                </c:pt>
                <c:pt idx="13">
                  <c:v>省份14</c:v>
                </c:pt>
                <c:pt idx="14">
                  <c:v>省份15</c:v>
                </c:pt>
                <c:pt idx="15">
                  <c:v>省份16</c:v>
                </c:pt>
                <c:pt idx="16">
                  <c:v>省份17</c:v>
                </c:pt>
                <c:pt idx="17">
                  <c:v>省份18</c:v>
                </c:pt>
                <c:pt idx="18">
                  <c:v>省份19</c:v>
                </c:pt>
                <c:pt idx="19">
                  <c:v>省份20</c:v>
                </c:pt>
                <c:pt idx="20">
                  <c:v>省份21</c:v>
                </c:pt>
                <c:pt idx="21">
                  <c:v>省份22</c:v>
                </c:pt>
                <c:pt idx="22">
                  <c:v>省份23</c:v>
                </c:pt>
                <c:pt idx="23">
                  <c:v>省份24</c:v>
                </c:pt>
                <c:pt idx="24">
                  <c:v>省份25</c:v>
                </c:pt>
                <c:pt idx="25">
                  <c:v>省份26</c:v>
                </c:pt>
                <c:pt idx="26">
                  <c:v>省份27</c:v>
                </c:pt>
                <c:pt idx="27">
                  <c:v>省份28</c:v>
                </c:pt>
                <c:pt idx="28">
                  <c:v>省份29</c:v>
                </c:pt>
                <c:pt idx="29">
                  <c:v>省份30</c:v>
                </c:pt>
                <c:pt idx="30">
                  <c:v>省份31</c:v>
                </c:pt>
              </c:strCache>
            </c:strRef>
          </c:cat>
          <c:val>
            <c:numRef>
              <c:f>Sheet1!$F$2:$F$32</c:f>
              <c:numCache>
                <c:formatCode>0</c:formatCode>
                <c:ptCount val="31"/>
                <c:pt idx="0">
                  <c:v>100</c:v>
                </c:pt>
                <c:pt idx="1">
                  <c:v>101</c:v>
                </c:pt>
                <c:pt idx="2">
                  <c:v>102</c:v>
                </c:pt>
                <c:pt idx="3">
                  <c:v>103</c:v>
                </c:pt>
                <c:pt idx="4">
                  <c:v>104</c:v>
                </c:pt>
                <c:pt idx="5">
                  <c:v>100</c:v>
                </c:pt>
                <c:pt idx="6">
                  <c:v>101</c:v>
                </c:pt>
                <c:pt idx="7">
                  <c:v>102</c:v>
                </c:pt>
                <c:pt idx="8">
                  <c:v>103</c:v>
                </c:pt>
                <c:pt idx="9">
                  <c:v>104</c:v>
                </c:pt>
                <c:pt idx="10">
                  <c:v>100</c:v>
                </c:pt>
                <c:pt idx="11">
                  <c:v>101</c:v>
                </c:pt>
                <c:pt idx="12">
                  <c:v>102</c:v>
                </c:pt>
                <c:pt idx="13">
                  <c:v>103</c:v>
                </c:pt>
                <c:pt idx="14">
                  <c:v>104</c:v>
                </c:pt>
                <c:pt idx="15">
                  <c:v>100</c:v>
                </c:pt>
                <c:pt idx="16">
                  <c:v>101</c:v>
                </c:pt>
                <c:pt idx="17">
                  <c:v>102</c:v>
                </c:pt>
                <c:pt idx="18">
                  <c:v>103</c:v>
                </c:pt>
                <c:pt idx="19">
                  <c:v>104</c:v>
                </c:pt>
                <c:pt idx="20">
                  <c:v>100</c:v>
                </c:pt>
                <c:pt idx="21">
                  <c:v>101</c:v>
                </c:pt>
                <c:pt idx="22">
                  <c:v>102</c:v>
                </c:pt>
                <c:pt idx="23">
                  <c:v>103</c:v>
                </c:pt>
                <c:pt idx="24">
                  <c:v>104</c:v>
                </c:pt>
                <c:pt idx="25">
                  <c:v>100</c:v>
                </c:pt>
                <c:pt idx="26">
                  <c:v>101</c:v>
                </c:pt>
                <c:pt idx="27">
                  <c:v>102</c:v>
                </c:pt>
                <c:pt idx="28">
                  <c:v>103</c:v>
                </c:pt>
                <c:pt idx="29">
                  <c:v>104</c:v>
                </c:pt>
                <c:pt idx="30">
                  <c:v>1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078-402F-92A6-308A76459F3E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EV_Competitor1</c:v>
                </c:pt>
              </c:strCache>
            </c:strRef>
          </c:tx>
          <c:spPr>
            <a:ln w="19050">
              <a:solidFill>
                <a:schemeClr val="accent1">
                  <a:lumMod val="75000"/>
                </a:schemeClr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1">
                    <a:lumMod val="75000"/>
                  </a:schemeClr>
                </a:solidFill>
              </a:ln>
            </c:spPr>
          </c:marker>
          <c:cat>
            <c:strRef>
              <c:f>Sheet1!$A$2:$A$32</c:f>
              <c:strCache>
                <c:ptCount val="31"/>
                <c:pt idx="0">
                  <c:v>省份1</c:v>
                </c:pt>
                <c:pt idx="1">
                  <c:v>省份2</c:v>
                </c:pt>
                <c:pt idx="2">
                  <c:v>省份3</c:v>
                </c:pt>
                <c:pt idx="3">
                  <c:v>省份4</c:v>
                </c:pt>
                <c:pt idx="4">
                  <c:v>省份5</c:v>
                </c:pt>
                <c:pt idx="5">
                  <c:v>省份6</c:v>
                </c:pt>
                <c:pt idx="6">
                  <c:v>省份7</c:v>
                </c:pt>
                <c:pt idx="7">
                  <c:v>省份8</c:v>
                </c:pt>
                <c:pt idx="8">
                  <c:v>省份9</c:v>
                </c:pt>
                <c:pt idx="9">
                  <c:v>省份10</c:v>
                </c:pt>
                <c:pt idx="10">
                  <c:v>省份11</c:v>
                </c:pt>
                <c:pt idx="11">
                  <c:v>省份12</c:v>
                </c:pt>
                <c:pt idx="12">
                  <c:v>省份13</c:v>
                </c:pt>
                <c:pt idx="13">
                  <c:v>省份14</c:v>
                </c:pt>
                <c:pt idx="14">
                  <c:v>省份15</c:v>
                </c:pt>
                <c:pt idx="15">
                  <c:v>省份16</c:v>
                </c:pt>
                <c:pt idx="16">
                  <c:v>省份17</c:v>
                </c:pt>
                <c:pt idx="17">
                  <c:v>省份18</c:v>
                </c:pt>
                <c:pt idx="18">
                  <c:v>省份19</c:v>
                </c:pt>
                <c:pt idx="19">
                  <c:v>省份20</c:v>
                </c:pt>
                <c:pt idx="20">
                  <c:v>省份21</c:v>
                </c:pt>
                <c:pt idx="21">
                  <c:v>省份22</c:v>
                </c:pt>
                <c:pt idx="22">
                  <c:v>省份23</c:v>
                </c:pt>
                <c:pt idx="23">
                  <c:v>省份24</c:v>
                </c:pt>
                <c:pt idx="24">
                  <c:v>省份25</c:v>
                </c:pt>
                <c:pt idx="25">
                  <c:v>省份26</c:v>
                </c:pt>
                <c:pt idx="26">
                  <c:v>省份27</c:v>
                </c:pt>
                <c:pt idx="27">
                  <c:v>省份28</c:v>
                </c:pt>
                <c:pt idx="28">
                  <c:v>省份29</c:v>
                </c:pt>
                <c:pt idx="29">
                  <c:v>省份30</c:v>
                </c:pt>
                <c:pt idx="30">
                  <c:v>省份31</c:v>
                </c:pt>
              </c:strCache>
            </c:strRef>
          </c:cat>
          <c:val>
            <c:numRef>
              <c:f>Sheet1!$G$2:$G$32</c:f>
              <c:numCache>
                <c:formatCode>0</c:formatCode>
                <c:ptCount val="31"/>
                <c:pt idx="0">
                  <c:v>95</c:v>
                </c:pt>
                <c:pt idx="1">
                  <c:v>96</c:v>
                </c:pt>
                <c:pt idx="2">
                  <c:v>97</c:v>
                </c:pt>
                <c:pt idx="3">
                  <c:v>98</c:v>
                </c:pt>
                <c:pt idx="4">
                  <c:v>99</c:v>
                </c:pt>
                <c:pt idx="5">
                  <c:v>95</c:v>
                </c:pt>
                <c:pt idx="6">
                  <c:v>96</c:v>
                </c:pt>
                <c:pt idx="7">
                  <c:v>97</c:v>
                </c:pt>
                <c:pt idx="8">
                  <c:v>98</c:v>
                </c:pt>
                <c:pt idx="9">
                  <c:v>99</c:v>
                </c:pt>
                <c:pt idx="10">
                  <c:v>95</c:v>
                </c:pt>
                <c:pt idx="11">
                  <c:v>96</c:v>
                </c:pt>
                <c:pt idx="12">
                  <c:v>97</c:v>
                </c:pt>
                <c:pt idx="13">
                  <c:v>98</c:v>
                </c:pt>
                <c:pt idx="14">
                  <c:v>99</c:v>
                </c:pt>
                <c:pt idx="15">
                  <c:v>95</c:v>
                </c:pt>
                <c:pt idx="16">
                  <c:v>96</c:v>
                </c:pt>
                <c:pt idx="17">
                  <c:v>97</c:v>
                </c:pt>
                <c:pt idx="18">
                  <c:v>98</c:v>
                </c:pt>
                <c:pt idx="19">
                  <c:v>99</c:v>
                </c:pt>
                <c:pt idx="20">
                  <c:v>95</c:v>
                </c:pt>
                <c:pt idx="21">
                  <c:v>96</c:v>
                </c:pt>
                <c:pt idx="22">
                  <c:v>97</c:v>
                </c:pt>
                <c:pt idx="23">
                  <c:v>98</c:v>
                </c:pt>
                <c:pt idx="24">
                  <c:v>99</c:v>
                </c:pt>
                <c:pt idx="25">
                  <c:v>95</c:v>
                </c:pt>
                <c:pt idx="26">
                  <c:v>96</c:v>
                </c:pt>
                <c:pt idx="27">
                  <c:v>97</c:v>
                </c:pt>
                <c:pt idx="28">
                  <c:v>98</c:v>
                </c:pt>
                <c:pt idx="29">
                  <c:v>99</c:v>
                </c:pt>
                <c:pt idx="30">
                  <c:v>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078-402F-92A6-308A76459F3E}"/>
            </c:ext>
          </c:extLst>
        </c:ser>
        <c:ser>
          <c:idx val="7"/>
          <c:order val="6"/>
          <c:tx>
            <c:strRef>
              <c:f>Sheet1!$H$1</c:f>
              <c:strCache>
                <c:ptCount val="1"/>
                <c:pt idx="0">
                  <c:v>EV_Competitor2</c:v>
                </c:pt>
              </c:strCache>
            </c:strRef>
          </c:tx>
          <c:spPr>
            <a:ln w="19050">
              <a:solidFill>
                <a:schemeClr val="accent2">
                  <a:lumMod val="75000"/>
                </a:schemeClr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2">
                    <a:lumMod val="75000"/>
                  </a:schemeClr>
                </a:solidFill>
              </a:ln>
            </c:spPr>
          </c:marker>
          <c:cat>
            <c:strRef>
              <c:f>Sheet1!$A$2:$A$32</c:f>
              <c:strCache>
                <c:ptCount val="31"/>
                <c:pt idx="0">
                  <c:v>省份1</c:v>
                </c:pt>
                <c:pt idx="1">
                  <c:v>省份2</c:v>
                </c:pt>
                <c:pt idx="2">
                  <c:v>省份3</c:v>
                </c:pt>
                <c:pt idx="3">
                  <c:v>省份4</c:v>
                </c:pt>
                <c:pt idx="4">
                  <c:v>省份5</c:v>
                </c:pt>
                <c:pt idx="5">
                  <c:v>省份6</c:v>
                </c:pt>
                <c:pt idx="6">
                  <c:v>省份7</c:v>
                </c:pt>
                <c:pt idx="7">
                  <c:v>省份8</c:v>
                </c:pt>
                <c:pt idx="8">
                  <c:v>省份9</c:v>
                </c:pt>
                <c:pt idx="9">
                  <c:v>省份10</c:v>
                </c:pt>
                <c:pt idx="10">
                  <c:v>省份11</c:v>
                </c:pt>
                <c:pt idx="11">
                  <c:v>省份12</c:v>
                </c:pt>
                <c:pt idx="12">
                  <c:v>省份13</c:v>
                </c:pt>
                <c:pt idx="13">
                  <c:v>省份14</c:v>
                </c:pt>
                <c:pt idx="14">
                  <c:v>省份15</c:v>
                </c:pt>
                <c:pt idx="15">
                  <c:v>省份16</c:v>
                </c:pt>
                <c:pt idx="16">
                  <c:v>省份17</c:v>
                </c:pt>
                <c:pt idx="17">
                  <c:v>省份18</c:v>
                </c:pt>
                <c:pt idx="18">
                  <c:v>省份19</c:v>
                </c:pt>
                <c:pt idx="19">
                  <c:v>省份20</c:v>
                </c:pt>
                <c:pt idx="20">
                  <c:v>省份21</c:v>
                </c:pt>
                <c:pt idx="21">
                  <c:v>省份22</c:v>
                </c:pt>
                <c:pt idx="22">
                  <c:v>省份23</c:v>
                </c:pt>
                <c:pt idx="23">
                  <c:v>省份24</c:v>
                </c:pt>
                <c:pt idx="24">
                  <c:v>省份25</c:v>
                </c:pt>
                <c:pt idx="25">
                  <c:v>省份26</c:v>
                </c:pt>
                <c:pt idx="26">
                  <c:v>省份27</c:v>
                </c:pt>
                <c:pt idx="27">
                  <c:v>省份28</c:v>
                </c:pt>
                <c:pt idx="28">
                  <c:v>省份29</c:v>
                </c:pt>
                <c:pt idx="29">
                  <c:v>省份30</c:v>
                </c:pt>
                <c:pt idx="30">
                  <c:v>省份31</c:v>
                </c:pt>
              </c:strCache>
            </c:strRef>
          </c:cat>
          <c:val>
            <c:numRef>
              <c:f>Sheet1!$H$2:$H$32</c:f>
              <c:numCache>
                <c:formatCode>0</c:formatCode>
                <c:ptCount val="31"/>
                <c:pt idx="0">
                  <c:v>90</c:v>
                </c:pt>
                <c:pt idx="1">
                  <c:v>90</c:v>
                </c:pt>
                <c:pt idx="2">
                  <c:v>90</c:v>
                </c:pt>
                <c:pt idx="3">
                  <c:v>90</c:v>
                </c:pt>
                <c:pt idx="4">
                  <c:v>90</c:v>
                </c:pt>
                <c:pt idx="5">
                  <c:v>90</c:v>
                </c:pt>
                <c:pt idx="6">
                  <c:v>90</c:v>
                </c:pt>
                <c:pt idx="7">
                  <c:v>90</c:v>
                </c:pt>
                <c:pt idx="8">
                  <c:v>90</c:v>
                </c:pt>
                <c:pt idx="9">
                  <c:v>90</c:v>
                </c:pt>
                <c:pt idx="10">
                  <c:v>90</c:v>
                </c:pt>
                <c:pt idx="11">
                  <c:v>90</c:v>
                </c:pt>
                <c:pt idx="12">
                  <c:v>90</c:v>
                </c:pt>
                <c:pt idx="13">
                  <c:v>90</c:v>
                </c:pt>
                <c:pt idx="14">
                  <c:v>90</c:v>
                </c:pt>
                <c:pt idx="15">
                  <c:v>90</c:v>
                </c:pt>
                <c:pt idx="16">
                  <c:v>90</c:v>
                </c:pt>
                <c:pt idx="17">
                  <c:v>90</c:v>
                </c:pt>
                <c:pt idx="18">
                  <c:v>90</c:v>
                </c:pt>
                <c:pt idx="19">
                  <c:v>90</c:v>
                </c:pt>
                <c:pt idx="20">
                  <c:v>90</c:v>
                </c:pt>
                <c:pt idx="21">
                  <c:v>90</c:v>
                </c:pt>
                <c:pt idx="22">
                  <c:v>90</c:v>
                </c:pt>
                <c:pt idx="23">
                  <c:v>90</c:v>
                </c:pt>
                <c:pt idx="24">
                  <c:v>90</c:v>
                </c:pt>
                <c:pt idx="25">
                  <c:v>90</c:v>
                </c:pt>
                <c:pt idx="26">
                  <c:v>90</c:v>
                </c:pt>
                <c:pt idx="27">
                  <c:v>90</c:v>
                </c:pt>
                <c:pt idx="28">
                  <c:v>90</c:v>
                </c:pt>
                <c:pt idx="29">
                  <c:v>90</c:v>
                </c:pt>
                <c:pt idx="30">
                  <c:v>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A078-402F-92A6-308A76459F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22741704"/>
        <c:axId val="522742096"/>
      </c:lineChart>
      <c:catAx>
        <c:axId val="5227405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522741312"/>
        <c:crosses val="autoZero"/>
        <c:auto val="1"/>
        <c:lblAlgn val="ctr"/>
        <c:lblOffset val="100"/>
        <c:noMultiLvlLbl val="0"/>
      </c:catAx>
      <c:valAx>
        <c:axId val="522741312"/>
        <c:scaling>
          <c:orientation val="minMax"/>
          <c:max val="1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altLang="zh-CN" dirty="0"/>
                  <a:t>Share</a:t>
                </a:r>
                <a:endParaRPr lang="zh-CN" dirty="0"/>
              </a:p>
            </c:rich>
          </c:tx>
          <c:layout>
            <c:manualLayout>
              <c:xMode val="edge"/>
              <c:yMode val="edge"/>
              <c:x val="9.3689986760504509E-2"/>
              <c:y val="3.5400272566550428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522740528"/>
        <c:crosses val="autoZero"/>
        <c:crossBetween val="between"/>
      </c:valAx>
      <c:valAx>
        <c:axId val="522742096"/>
        <c:scaling>
          <c:orientation val="minMax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altLang="zh-CN" dirty="0"/>
                  <a:t>EV</a:t>
                </a:r>
              </a:p>
            </c:rich>
          </c:tx>
          <c:layout>
            <c:manualLayout>
              <c:xMode val="edge"/>
              <c:yMode val="edge"/>
              <c:x val="0.97336863064530732"/>
              <c:y val="3.6121772258864621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#,##0_);[Red]\(#,##0\)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522741704"/>
        <c:crosses val="max"/>
        <c:crossBetween val="between"/>
      </c:valAx>
      <c:catAx>
        <c:axId val="5227417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22742096"/>
        <c:crosses val="autoZero"/>
        <c:auto val="1"/>
        <c:lblAlgn val="ctr"/>
        <c:lblOffset val="100"/>
        <c:noMultiLvlLbl val="0"/>
      </c:cat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>
          <a:latin typeface="+mj-lt"/>
        </a:defRPr>
      </a:pPr>
      <a:endParaRPr lang="zh-CN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935858128353424"/>
          <c:y val="3.9855083834041946E-2"/>
          <c:w val="0.79692228183866398"/>
          <c:h val="0.57233383896320866"/>
        </c:manualLayout>
      </c:layout>
      <c:barChart>
        <c:barDir val="col"/>
        <c:grouping val="stacked"/>
        <c:varyColors val="0"/>
        <c:ser>
          <c:idx val="3"/>
          <c:order val="0"/>
          <c:tx>
            <c:strRef>
              <c:f>Sheet1!$E$1</c:f>
              <c:strCache>
                <c:ptCount val="1"/>
                <c:pt idx="0">
                  <c:v>Others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6350">
              <a:solidFill>
                <a:schemeClr val="bg1"/>
              </a:solidFill>
              <a:prstDash val="solid"/>
            </a:ln>
          </c:spPr>
          <c:invertIfNegative val="0"/>
          <c:cat>
            <c:strRef>
              <c:f>Sheet1!$A$2:$A$32</c:f>
              <c:strCache>
                <c:ptCount val="31"/>
                <c:pt idx="0">
                  <c:v>省份1</c:v>
                </c:pt>
                <c:pt idx="1">
                  <c:v>省份2</c:v>
                </c:pt>
                <c:pt idx="2">
                  <c:v>省份3</c:v>
                </c:pt>
                <c:pt idx="3">
                  <c:v>省份4</c:v>
                </c:pt>
                <c:pt idx="4">
                  <c:v>省份5</c:v>
                </c:pt>
                <c:pt idx="5">
                  <c:v>省份6</c:v>
                </c:pt>
                <c:pt idx="6">
                  <c:v>省份7</c:v>
                </c:pt>
                <c:pt idx="7">
                  <c:v>省份8</c:v>
                </c:pt>
                <c:pt idx="8">
                  <c:v>省份9</c:v>
                </c:pt>
                <c:pt idx="9">
                  <c:v>省份10</c:v>
                </c:pt>
                <c:pt idx="10">
                  <c:v>省份11</c:v>
                </c:pt>
                <c:pt idx="11">
                  <c:v>省份12</c:v>
                </c:pt>
                <c:pt idx="12">
                  <c:v>省份13</c:v>
                </c:pt>
                <c:pt idx="13">
                  <c:v>省份14</c:v>
                </c:pt>
                <c:pt idx="14">
                  <c:v>省份15</c:v>
                </c:pt>
                <c:pt idx="15">
                  <c:v>省份16</c:v>
                </c:pt>
                <c:pt idx="16">
                  <c:v>省份17</c:v>
                </c:pt>
                <c:pt idx="17">
                  <c:v>省份18</c:v>
                </c:pt>
                <c:pt idx="18">
                  <c:v>省份19</c:v>
                </c:pt>
                <c:pt idx="19">
                  <c:v>省份20</c:v>
                </c:pt>
                <c:pt idx="20">
                  <c:v>省份21</c:v>
                </c:pt>
                <c:pt idx="21">
                  <c:v>省份22</c:v>
                </c:pt>
                <c:pt idx="22">
                  <c:v>省份23</c:v>
                </c:pt>
                <c:pt idx="23">
                  <c:v>省份24</c:v>
                </c:pt>
                <c:pt idx="24">
                  <c:v>省份25</c:v>
                </c:pt>
                <c:pt idx="25">
                  <c:v>省份26</c:v>
                </c:pt>
                <c:pt idx="26">
                  <c:v>省份27</c:v>
                </c:pt>
                <c:pt idx="27">
                  <c:v>省份28</c:v>
                </c:pt>
                <c:pt idx="28">
                  <c:v>省份29</c:v>
                </c:pt>
                <c:pt idx="29">
                  <c:v>省份30</c:v>
                </c:pt>
                <c:pt idx="30">
                  <c:v>省份31</c:v>
                </c:pt>
              </c:strCache>
            </c:strRef>
          </c:cat>
          <c:val>
            <c:numRef>
              <c:f>Sheet1!$E$2:$E$32</c:f>
              <c:numCache>
                <c:formatCode>0.0%</c:formatCode>
                <c:ptCount val="31"/>
                <c:pt idx="0">
                  <c:v>0.81</c:v>
                </c:pt>
                <c:pt idx="1">
                  <c:v>0.81</c:v>
                </c:pt>
                <c:pt idx="2">
                  <c:v>0.81</c:v>
                </c:pt>
                <c:pt idx="3">
                  <c:v>0.81</c:v>
                </c:pt>
                <c:pt idx="4">
                  <c:v>0.81</c:v>
                </c:pt>
                <c:pt idx="5">
                  <c:v>0.81</c:v>
                </c:pt>
                <c:pt idx="6">
                  <c:v>0.81</c:v>
                </c:pt>
                <c:pt idx="7">
                  <c:v>0.81</c:v>
                </c:pt>
                <c:pt idx="8">
                  <c:v>0.81</c:v>
                </c:pt>
                <c:pt idx="9">
                  <c:v>0.81</c:v>
                </c:pt>
                <c:pt idx="10">
                  <c:v>0.81</c:v>
                </c:pt>
                <c:pt idx="11">
                  <c:v>0.81</c:v>
                </c:pt>
                <c:pt idx="12">
                  <c:v>0.81</c:v>
                </c:pt>
                <c:pt idx="13">
                  <c:v>0.81</c:v>
                </c:pt>
                <c:pt idx="14">
                  <c:v>0.81</c:v>
                </c:pt>
                <c:pt idx="15">
                  <c:v>0.81</c:v>
                </c:pt>
                <c:pt idx="16">
                  <c:v>0.81</c:v>
                </c:pt>
                <c:pt idx="17">
                  <c:v>0.81</c:v>
                </c:pt>
                <c:pt idx="18">
                  <c:v>0.81</c:v>
                </c:pt>
                <c:pt idx="19">
                  <c:v>0.81</c:v>
                </c:pt>
                <c:pt idx="20">
                  <c:v>0.81</c:v>
                </c:pt>
                <c:pt idx="21">
                  <c:v>0.81</c:v>
                </c:pt>
                <c:pt idx="22">
                  <c:v>0.81</c:v>
                </c:pt>
                <c:pt idx="23">
                  <c:v>0.81</c:v>
                </c:pt>
                <c:pt idx="24">
                  <c:v>0.81</c:v>
                </c:pt>
                <c:pt idx="25">
                  <c:v>0.81</c:v>
                </c:pt>
                <c:pt idx="26">
                  <c:v>0.81</c:v>
                </c:pt>
                <c:pt idx="27">
                  <c:v>0.81</c:v>
                </c:pt>
                <c:pt idx="28">
                  <c:v>0.81</c:v>
                </c:pt>
                <c:pt idx="29">
                  <c:v>0.81</c:v>
                </c:pt>
                <c:pt idx="30">
                  <c:v>0.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6B-4CF0-96C5-585EDF8206FE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Competitor2</c:v>
                </c:pt>
              </c:strCache>
            </c:strRef>
          </c:tx>
          <c:spPr>
            <a:solidFill>
              <a:schemeClr val="accent2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32</c:f>
              <c:strCache>
                <c:ptCount val="31"/>
                <c:pt idx="0">
                  <c:v>省份1</c:v>
                </c:pt>
                <c:pt idx="1">
                  <c:v>省份2</c:v>
                </c:pt>
                <c:pt idx="2">
                  <c:v>省份3</c:v>
                </c:pt>
                <c:pt idx="3">
                  <c:v>省份4</c:v>
                </c:pt>
                <c:pt idx="4">
                  <c:v>省份5</c:v>
                </c:pt>
                <c:pt idx="5">
                  <c:v>省份6</c:v>
                </c:pt>
                <c:pt idx="6">
                  <c:v>省份7</c:v>
                </c:pt>
                <c:pt idx="7">
                  <c:v>省份8</c:v>
                </c:pt>
                <c:pt idx="8">
                  <c:v>省份9</c:v>
                </c:pt>
                <c:pt idx="9">
                  <c:v>省份10</c:v>
                </c:pt>
                <c:pt idx="10">
                  <c:v>省份11</c:v>
                </c:pt>
                <c:pt idx="11">
                  <c:v>省份12</c:v>
                </c:pt>
                <c:pt idx="12">
                  <c:v>省份13</c:v>
                </c:pt>
                <c:pt idx="13">
                  <c:v>省份14</c:v>
                </c:pt>
                <c:pt idx="14">
                  <c:v>省份15</c:v>
                </c:pt>
                <c:pt idx="15">
                  <c:v>省份16</c:v>
                </c:pt>
                <c:pt idx="16">
                  <c:v>省份17</c:v>
                </c:pt>
                <c:pt idx="17">
                  <c:v>省份18</c:v>
                </c:pt>
                <c:pt idx="18">
                  <c:v>省份19</c:v>
                </c:pt>
                <c:pt idx="19">
                  <c:v>省份20</c:v>
                </c:pt>
                <c:pt idx="20">
                  <c:v>省份21</c:v>
                </c:pt>
                <c:pt idx="21">
                  <c:v>省份22</c:v>
                </c:pt>
                <c:pt idx="22">
                  <c:v>省份23</c:v>
                </c:pt>
                <c:pt idx="23">
                  <c:v>省份24</c:v>
                </c:pt>
                <c:pt idx="24">
                  <c:v>省份25</c:v>
                </c:pt>
                <c:pt idx="25">
                  <c:v>省份26</c:v>
                </c:pt>
                <c:pt idx="26">
                  <c:v>省份27</c:v>
                </c:pt>
                <c:pt idx="27">
                  <c:v>省份28</c:v>
                </c:pt>
                <c:pt idx="28">
                  <c:v>省份29</c:v>
                </c:pt>
                <c:pt idx="29">
                  <c:v>省份30</c:v>
                </c:pt>
                <c:pt idx="30">
                  <c:v>省份31</c:v>
                </c:pt>
              </c:strCache>
            </c:strRef>
          </c:cat>
          <c:val>
            <c:numRef>
              <c:f>Sheet1!$D$2:$D$32</c:f>
              <c:numCache>
                <c:formatCode>0.0%</c:formatCode>
                <c:ptCount val="31"/>
                <c:pt idx="0">
                  <c:v>0.06</c:v>
                </c:pt>
                <c:pt idx="1">
                  <c:v>0.06</c:v>
                </c:pt>
                <c:pt idx="2">
                  <c:v>0.06</c:v>
                </c:pt>
                <c:pt idx="3">
                  <c:v>0.06</c:v>
                </c:pt>
                <c:pt idx="4">
                  <c:v>0.06</c:v>
                </c:pt>
                <c:pt idx="5">
                  <c:v>0.06</c:v>
                </c:pt>
                <c:pt idx="6">
                  <c:v>0.06</c:v>
                </c:pt>
                <c:pt idx="7">
                  <c:v>0.06</c:v>
                </c:pt>
                <c:pt idx="8">
                  <c:v>0.06</c:v>
                </c:pt>
                <c:pt idx="9">
                  <c:v>0.06</c:v>
                </c:pt>
                <c:pt idx="10">
                  <c:v>0.06</c:v>
                </c:pt>
                <c:pt idx="11">
                  <c:v>0.06</c:v>
                </c:pt>
                <c:pt idx="12">
                  <c:v>0.06</c:v>
                </c:pt>
                <c:pt idx="13">
                  <c:v>0.06</c:v>
                </c:pt>
                <c:pt idx="14">
                  <c:v>0.06</c:v>
                </c:pt>
                <c:pt idx="15">
                  <c:v>0.06</c:v>
                </c:pt>
                <c:pt idx="16">
                  <c:v>0.06</c:v>
                </c:pt>
                <c:pt idx="17">
                  <c:v>0.06</c:v>
                </c:pt>
                <c:pt idx="18">
                  <c:v>0.06</c:v>
                </c:pt>
                <c:pt idx="19">
                  <c:v>0.06</c:v>
                </c:pt>
                <c:pt idx="20">
                  <c:v>0.06</c:v>
                </c:pt>
                <c:pt idx="21">
                  <c:v>0.06</c:v>
                </c:pt>
                <c:pt idx="22">
                  <c:v>0.06</c:v>
                </c:pt>
                <c:pt idx="23">
                  <c:v>0.06</c:v>
                </c:pt>
                <c:pt idx="24">
                  <c:v>0.06</c:v>
                </c:pt>
                <c:pt idx="25">
                  <c:v>0.06</c:v>
                </c:pt>
                <c:pt idx="26">
                  <c:v>0.06</c:v>
                </c:pt>
                <c:pt idx="27">
                  <c:v>0.06</c:v>
                </c:pt>
                <c:pt idx="28">
                  <c:v>0.06</c:v>
                </c:pt>
                <c:pt idx="29">
                  <c:v>0.06</c:v>
                </c:pt>
                <c:pt idx="30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76B-4CF0-96C5-585EDF8206FE}"/>
            </c:ext>
          </c:extLst>
        </c:ser>
        <c:ser>
          <c:idx val="1"/>
          <c:order val="2"/>
          <c:tx>
            <c:strRef>
              <c:f>Sheet1!$C$1</c:f>
              <c:strCache>
                <c:ptCount val="1"/>
                <c:pt idx="0">
                  <c:v>Competitor1</c:v>
                </c:pt>
              </c:strCache>
            </c:strRef>
          </c:tx>
          <c:spPr>
            <a:solidFill>
              <a:schemeClr val="accent1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32</c:f>
              <c:strCache>
                <c:ptCount val="31"/>
                <c:pt idx="0">
                  <c:v>省份1</c:v>
                </c:pt>
                <c:pt idx="1">
                  <c:v>省份2</c:v>
                </c:pt>
                <c:pt idx="2">
                  <c:v>省份3</c:v>
                </c:pt>
                <c:pt idx="3">
                  <c:v>省份4</c:v>
                </c:pt>
                <c:pt idx="4">
                  <c:v>省份5</c:v>
                </c:pt>
                <c:pt idx="5">
                  <c:v>省份6</c:v>
                </c:pt>
                <c:pt idx="6">
                  <c:v>省份7</c:v>
                </c:pt>
                <c:pt idx="7">
                  <c:v>省份8</c:v>
                </c:pt>
                <c:pt idx="8">
                  <c:v>省份9</c:v>
                </c:pt>
                <c:pt idx="9">
                  <c:v>省份10</c:v>
                </c:pt>
                <c:pt idx="10">
                  <c:v>省份11</c:v>
                </c:pt>
                <c:pt idx="11">
                  <c:v>省份12</c:v>
                </c:pt>
                <c:pt idx="12">
                  <c:v>省份13</c:v>
                </c:pt>
                <c:pt idx="13">
                  <c:v>省份14</c:v>
                </c:pt>
                <c:pt idx="14">
                  <c:v>省份15</c:v>
                </c:pt>
                <c:pt idx="15">
                  <c:v>省份16</c:v>
                </c:pt>
                <c:pt idx="16">
                  <c:v>省份17</c:v>
                </c:pt>
                <c:pt idx="17">
                  <c:v>省份18</c:v>
                </c:pt>
                <c:pt idx="18">
                  <c:v>省份19</c:v>
                </c:pt>
                <c:pt idx="19">
                  <c:v>省份20</c:v>
                </c:pt>
                <c:pt idx="20">
                  <c:v>省份21</c:v>
                </c:pt>
                <c:pt idx="21">
                  <c:v>省份22</c:v>
                </c:pt>
                <c:pt idx="22">
                  <c:v>省份23</c:v>
                </c:pt>
                <c:pt idx="23">
                  <c:v>省份24</c:v>
                </c:pt>
                <c:pt idx="24">
                  <c:v>省份25</c:v>
                </c:pt>
                <c:pt idx="25">
                  <c:v>省份26</c:v>
                </c:pt>
                <c:pt idx="26">
                  <c:v>省份27</c:v>
                </c:pt>
                <c:pt idx="27">
                  <c:v>省份28</c:v>
                </c:pt>
                <c:pt idx="28">
                  <c:v>省份29</c:v>
                </c:pt>
                <c:pt idx="29">
                  <c:v>省份30</c:v>
                </c:pt>
                <c:pt idx="30">
                  <c:v>省份31</c:v>
                </c:pt>
              </c:strCache>
            </c:strRef>
          </c:cat>
          <c:val>
            <c:numRef>
              <c:f>Sheet1!$C$2:$C$32</c:f>
              <c:numCache>
                <c:formatCode>0.0%</c:formatCode>
                <c:ptCount val="31"/>
                <c:pt idx="0">
                  <c:v>0.08</c:v>
                </c:pt>
                <c:pt idx="1">
                  <c:v>0.08</c:v>
                </c:pt>
                <c:pt idx="2">
                  <c:v>0.08</c:v>
                </c:pt>
                <c:pt idx="3">
                  <c:v>0.08</c:v>
                </c:pt>
                <c:pt idx="4">
                  <c:v>0.08</c:v>
                </c:pt>
                <c:pt idx="5">
                  <c:v>0.08</c:v>
                </c:pt>
                <c:pt idx="6">
                  <c:v>0.08</c:v>
                </c:pt>
                <c:pt idx="7">
                  <c:v>0.08</c:v>
                </c:pt>
                <c:pt idx="8">
                  <c:v>0.08</c:v>
                </c:pt>
                <c:pt idx="9">
                  <c:v>0.08</c:v>
                </c:pt>
                <c:pt idx="10">
                  <c:v>0.08</c:v>
                </c:pt>
                <c:pt idx="11">
                  <c:v>0.08</c:v>
                </c:pt>
                <c:pt idx="12">
                  <c:v>0.08</c:v>
                </c:pt>
                <c:pt idx="13">
                  <c:v>0.08</c:v>
                </c:pt>
                <c:pt idx="14">
                  <c:v>0.08</c:v>
                </c:pt>
                <c:pt idx="15">
                  <c:v>0.08</c:v>
                </c:pt>
                <c:pt idx="16">
                  <c:v>0.08</c:v>
                </c:pt>
                <c:pt idx="17">
                  <c:v>0.08</c:v>
                </c:pt>
                <c:pt idx="18">
                  <c:v>0.08</c:v>
                </c:pt>
                <c:pt idx="19">
                  <c:v>0.08</c:v>
                </c:pt>
                <c:pt idx="20">
                  <c:v>0.08</c:v>
                </c:pt>
                <c:pt idx="21">
                  <c:v>0.08</c:v>
                </c:pt>
                <c:pt idx="22">
                  <c:v>0.08</c:v>
                </c:pt>
                <c:pt idx="23">
                  <c:v>0.08</c:v>
                </c:pt>
                <c:pt idx="24">
                  <c:v>0.08</c:v>
                </c:pt>
                <c:pt idx="25">
                  <c:v>0.08</c:v>
                </c:pt>
                <c:pt idx="26">
                  <c:v>0.08</c:v>
                </c:pt>
                <c:pt idx="27">
                  <c:v>0.08</c:v>
                </c:pt>
                <c:pt idx="28">
                  <c:v>0.08</c:v>
                </c:pt>
                <c:pt idx="29">
                  <c:v>0.08</c:v>
                </c:pt>
                <c:pt idx="30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76B-4CF0-96C5-585EDF8206FE}"/>
            </c:ext>
          </c:extLst>
        </c:ser>
        <c:ser>
          <c:idx val="0"/>
          <c:order val="3"/>
          <c:tx>
            <c:strRef>
              <c:f>Sheet1!$B$1</c:f>
              <c:strCache>
                <c:ptCount val="1"/>
                <c:pt idx="0">
                  <c:v>Int Prod</c:v>
                </c:pt>
              </c:strCache>
            </c:strRef>
          </c:tx>
          <c:spPr>
            <a:solidFill>
              <a:srgbClr val="FF0000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32</c:f>
              <c:strCache>
                <c:ptCount val="31"/>
                <c:pt idx="0">
                  <c:v>省份1</c:v>
                </c:pt>
                <c:pt idx="1">
                  <c:v>省份2</c:v>
                </c:pt>
                <c:pt idx="2">
                  <c:v>省份3</c:v>
                </c:pt>
                <c:pt idx="3">
                  <c:v>省份4</c:v>
                </c:pt>
                <c:pt idx="4">
                  <c:v>省份5</c:v>
                </c:pt>
                <c:pt idx="5">
                  <c:v>省份6</c:v>
                </c:pt>
                <c:pt idx="6">
                  <c:v>省份7</c:v>
                </c:pt>
                <c:pt idx="7">
                  <c:v>省份8</c:v>
                </c:pt>
                <c:pt idx="8">
                  <c:v>省份9</c:v>
                </c:pt>
                <c:pt idx="9">
                  <c:v>省份10</c:v>
                </c:pt>
                <c:pt idx="10">
                  <c:v>省份11</c:v>
                </c:pt>
                <c:pt idx="11">
                  <c:v>省份12</c:v>
                </c:pt>
                <c:pt idx="12">
                  <c:v>省份13</c:v>
                </c:pt>
                <c:pt idx="13">
                  <c:v>省份14</c:v>
                </c:pt>
                <c:pt idx="14">
                  <c:v>省份15</c:v>
                </c:pt>
                <c:pt idx="15">
                  <c:v>省份16</c:v>
                </c:pt>
                <c:pt idx="16">
                  <c:v>省份17</c:v>
                </c:pt>
                <c:pt idx="17">
                  <c:v>省份18</c:v>
                </c:pt>
                <c:pt idx="18">
                  <c:v>省份19</c:v>
                </c:pt>
                <c:pt idx="19">
                  <c:v>省份20</c:v>
                </c:pt>
                <c:pt idx="20">
                  <c:v>省份21</c:v>
                </c:pt>
                <c:pt idx="21">
                  <c:v>省份22</c:v>
                </c:pt>
                <c:pt idx="22">
                  <c:v>省份23</c:v>
                </c:pt>
                <c:pt idx="23">
                  <c:v>省份24</c:v>
                </c:pt>
                <c:pt idx="24">
                  <c:v>省份25</c:v>
                </c:pt>
                <c:pt idx="25">
                  <c:v>省份26</c:v>
                </c:pt>
                <c:pt idx="26">
                  <c:v>省份27</c:v>
                </c:pt>
                <c:pt idx="27">
                  <c:v>省份28</c:v>
                </c:pt>
                <c:pt idx="28">
                  <c:v>省份29</c:v>
                </c:pt>
                <c:pt idx="29">
                  <c:v>省份30</c:v>
                </c:pt>
                <c:pt idx="30">
                  <c:v>省份31</c:v>
                </c:pt>
              </c:strCache>
            </c:strRef>
          </c:cat>
          <c:val>
            <c:numRef>
              <c:f>Sheet1!$B$2:$B$32</c:f>
              <c:numCache>
                <c:formatCode>0.0%</c:formatCode>
                <c:ptCount val="31"/>
                <c:pt idx="0">
                  <c:v>0.05</c:v>
                </c:pt>
                <c:pt idx="1">
                  <c:v>0.05</c:v>
                </c:pt>
                <c:pt idx="2">
                  <c:v>0.05</c:v>
                </c:pt>
                <c:pt idx="3">
                  <c:v>0.05</c:v>
                </c:pt>
                <c:pt idx="4">
                  <c:v>0.05</c:v>
                </c:pt>
                <c:pt idx="5">
                  <c:v>0.05</c:v>
                </c:pt>
                <c:pt idx="6">
                  <c:v>0.05</c:v>
                </c:pt>
                <c:pt idx="7">
                  <c:v>0.05</c:v>
                </c:pt>
                <c:pt idx="8">
                  <c:v>0.05</c:v>
                </c:pt>
                <c:pt idx="9">
                  <c:v>0.05</c:v>
                </c:pt>
                <c:pt idx="10">
                  <c:v>0.05</c:v>
                </c:pt>
                <c:pt idx="11">
                  <c:v>0.05</c:v>
                </c:pt>
                <c:pt idx="12">
                  <c:v>0.05</c:v>
                </c:pt>
                <c:pt idx="13">
                  <c:v>0.05</c:v>
                </c:pt>
                <c:pt idx="14">
                  <c:v>0.05</c:v>
                </c:pt>
                <c:pt idx="15">
                  <c:v>0.05</c:v>
                </c:pt>
                <c:pt idx="16">
                  <c:v>0.05</c:v>
                </c:pt>
                <c:pt idx="17">
                  <c:v>0.05</c:v>
                </c:pt>
                <c:pt idx="18">
                  <c:v>0.05</c:v>
                </c:pt>
                <c:pt idx="19">
                  <c:v>0.05</c:v>
                </c:pt>
                <c:pt idx="20">
                  <c:v>0.05</c:v>
                </c:pt>
                <c:pt idx="21">
                  <c:v>0.05</c:v>
                </c:pt>
                <c:pt idx="22">
                  <c:v>0.05</c:v>
                </c:pt>
                <c:pt idx="23">
                  <c:v>0.05</c:v>
                </c:pt>
                <c:pt idx="24">
                  <c:v>0.05</c:v>
                </c:pt>
                <c:pt idx="25">
                  <c:v>0.05</c:v>
                </c:pt>
                <c:pt idx="26">
                  <c:v>0.05</c:v>
                </c:pt>
                <c:pt idx="27">
                  <c:v>0.05</c:v>
                </c:pt>
                <c:pt idx="28">
                  <c:v>0.05</c:v>
                </c:pt>
                <c:pt idx="29">
                  <c:v>0.05</c:v>
                </c:pt>
                <c:pt idx="30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76B-4CF0-96C5-585EDF8206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522747976"/>
        <c:axId val="522737784"/>
      </c:barChart>
      <c:lineChart>
        <c:grouping val="standard"/>
        <c:varyColors val="0"/>
        <c:ser>
          <c:idx val="4"/>
          <c:order val="4"/>
          <c:tx>
            <c:strRef>
              <c:f>Sheet1!$F$1</c:f>
              <c:strCache>
                <c:ptCount val="1"/>
                <c:pt idx="0">
                  <c:v>EV_Int Prod</c:v>
                </c:pt>
              </c:strCache>
            </c:strRef>
          </c:tx>
          <c:spPr>
            <a:ln w="19050">
              <a:solidFill>
                <a:srgbClr val="C00000"/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rgbClr val="C00000"/>
                </a:solidFill>
              </a:ln>
            </c:spPr>
          </c:marker>
          <c:cat>
            <c:strRef>
              <c:f>Sheet1!$A$2:$A$32</c:f>
              <c:strCache>
                <c:ptCount val="31"/>
                <c:pt idx="0">
                  <c:v>省份1</c:v>
                </c:pt>
                <c:pt idx="1">
                  <c:v>省份2</c:v>
                </c:pt>
                <c:pt idx="2">
                  <c:v>省份3</c:v>
                </c:pt>
                <c:pt idx="3">
                  <c:v>省份4</c:v>
                </c:pt>
                <c:pt idx="4">
                  <c:v>省份5</c:v>
                </c:pt>
                <c:pt idx="5">
                  <c:v>省份6</c:v>
                </c:pt>
                <c:pt idx="6">
                  <c:v>省份7</c:v>
                </c:pt>
                <c:pt idx="7">
                  <c:v>省份8</c:v>
                </c:pt>
                <c:pt idx="8">
                  <c:v>省份9</c:v>
                </c:pt>
                <c:pt idx="9">
                  <c:v>省份10</c:v>
                </c:pt>
                <c:pt idx="10">
                  <c:v>省份11</c:v>
                </c:pt>
                <c:pt idx="11">
                  <c:v>省份12</c:v>
                </c:pt>
                <c:pt idx="12">
                  <c:v>省份13</c:v>
                </c:pt>
                <c:pt idx="13">
                  <c:v>省份14</c:v>
                </c:pt>
                <c:pt idx="14">
                  <c:v>省份15</c:v>
                </c:pt>
                <c:pt idx="15">
                  <c:v>省份16</c:v>
                </c:pt>
                <c:pt idx="16">
                  <c:v>省份17</c:v>
                </c:pt>
                <c:pt idx="17">
                  <c:v>省份18</c:v>
                </c:pt>
                <c:pt idx="18">
                  <c:v>省份19</c:v>
                </c:pt>
                <c:pt idx="19">
                  <c:v>省份20</c:v>
                </c:pt>
                <c:pt idx="20">
                  <c:v>省份21</c:v>
                </c:pt>
                <c:pt idx="21">
                  <c:v>省份22</c:v>
                </c:pt>
                <c:pt idx="22">
                  <c:v>省份23</c:v>
                </c:pt>
                <c:pt idx="23">
                  <c:v>省份24</c:v>
                </c:pt>
                <c:pt idx="24">
                  <c:v>省份25</c:v>
                </c:pt>
                <c:pt idx="25">
                  <c:v>省份26</c:v>
                </c:pt>
                <c:pt idx="26">
                  <c:v>省份27</c:v>
                </c:pt>
                <c:pt idx="27">
                  <c:v>省份28</c:v>
                </c:pt>
                <c:pt idx="28">
                  <c:v>省份29</c:v>
                </c:pt>
                <c:pt idx="29">
                  <c:v>省份30</c:v>
                </c:pt>
                <c:pt idx="30">
                  <c:v>省份31</c:v>
                </c:pt>
              </c:strCache>
            </c:strRef>
          </c:cat>
          <c:val>
            <c:numRef>
              <c:f>Sheet1!$F$2:$F$32</c:f>
              <c:numCache>
                <c:formatCode>0</c:formatCode>
                <c:ptCount val="31"/>
                <c:pt idx="0">
                  <c:v>100</c:v>
                </c:pt>
                <c:pt idx="1">
                  <c:v>101</c:v>
                </c:pt>
                <c:pt idx="2">
                  <c:v>102</c:v>
                </c:pt>
                <c:pt idx="3">
                  <c:v>103</c:v>
                </c:pt>
                <c:pt idx="4">
                  <c:v>104</c:v>
                </c:pt>
                <c:pt idx="5">
                  <c:v>100</c:v>
                </c:pt>
                <c:pt idx="6">
                  <c:v>101</c:v>
                </c:pt>
                <c:pt idx="7">
                  <c:v>102</c:v>
                </c:pt>
                <c:pt idx="8">
                  <c:v>103</c:v>
                </c:pt>
                <c:pt idx="9">
                  <c:v>104</c:v>
                </c:pt>
                <c:pt idx="10">
                  <c:v>100</c:v>
                </c:pt>
                <c:pt idx="11">
                  <c:v>101</c:v>
                </c:pt>
                <c:pt idx="12">
                  <c:v>102</c:v>
                </c:pt>
                <c:pt idx="13">
                  <c:v>103</c:v>
                </c:pt>
                <c:pt idx="14">
                  <c:v>104</c:v>
                </c:pt>
                <c:pt idx="15">
                  <c:v>100</c:v>
                </c:pt>
                <c:pt idx="16">
                  <c:v>101</c:v>
                </c:pt>
                <c:pt idx="17">
                  <c:v>102</c:v>
                </c:pt>
                <c:pt idx="18">
                  <c:v>103</c:v>
                </c:pt>
                <c:pt idx="19">
                  <c:v>104</c:v>
                </c:pt>
                <c:pt idx="20">
                  <c:v>100</c:v>
                </c:pt>
                <c:pt idx="21">
                  <c:v>101</c:v>
                </c:pt>
                <c:pt idx="22">
                  <c:v>102</c:v>
                </c:pt>
                <c:pt idx="23">
                  <c:v>103</c:v>
                </c:pt>
                <c:pt idx="24">
                  <c:v>104</c:v>
                </c:pt>
                <c:pt idx="25">
                  <c:v>100</c:v>
                </c:pt>
                <c:pt idx="26">
                  <c:v>101</c:v>
                </c:pt>
                <c:pt idx="27">
                  <c:v>102</c:v>
                </c:pt>
                <c:pt idx="28">
                  <c:v>103</c:v>
                </c:pt>
                <c:pt idx="29">
                  <c:v>104</c:v>
                </c:pt>
                <c:pt idx="30">
                  <c:v>1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76B-4CF0-96C5-585EDF8206FE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EV_Competitor1</c:v>
                </c:pt>
              </c:strCache>
            </c:strRef>
          </c:tx>
          <c:spPr>
            <a:ln w="19050">
              <a:solidFill>
                <a:schemeClr val="accent1">
                  <a:lumMod val="75000"/>
                </a:schemeClr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1">
                    <a:lumMod val="75000"/>
                  </a:schemeClr>
                </a:solidFill>
              </a:ln>
            </c:spPr>
          </c:marker>
          <c:cat>
            <c:strRef>
              <c:f>Sheet1!$A$2:$A$32</c:f>
              <c:strCache>
                <c:ptCount val="31"/>
                <c:pt idx="0">
                  <c:v>省份1</c:v>
                </c:pt>
                <c:pt idx="1">
                  <c:v>省份2</c:v>
                </c:pt>
                <c:pt idx="2">
                  <c:v>省份3</c:v>
                </c:pt>
                <c:pt idx="3">
                  <c:v>省份4</c:v>
                </c:pt>
                <c:pt idx="4">
                  <c:v>省份5</c:v>
                </c:pt>
                <c:pt idx="5">
                  <c:v>省份6</c:v>
                </c:pt>
                <c:pt idx="6">
                  <c:v>省份7</c:v>
                </c:pt>
                <c:pt idx="7">
                  <c:v>省份8</c:v>
                </c:pt>
                <c:pt idx="8">
                  <c:v>省份9</c:v>
                </c:pt>
                <c:pt idx="9">
                  <c:v>省份10</c:v>
                </c:pt>
                <c:pt idx="10">
                  <c:v>省份11</c:v>
                </c:pt>
                <c:pt idx="11">
                  <c:v>省份12</c:v>
                </c:pt>
                <c:pt idx="12">
                  <c:v>省份13</c:v>
                </c:pt>
                <c:pt idx="13">
                  <c:v>省份14</c:v>
                </c:pt>
                <c:pt idx="14">
                  <c:v>省份15</c:v>
                </c:pt>
                <c:pt idx="15">
                  <c:v>省份16</c:v>
                </c:pt>
                <c:pt idx="16">
                  <c:v>省份17</c:v>
                </c:pt>
                <c:pt idx="17">
                  <c:v>省份18</c:v>
                </c:pt>
                <c:pt idx="18">
                  <c:v>省份19</c:v>
                </c:pt>
                <c:pt idx="19">
                  <c:v>省份20</c:v>
                </c:pt>
                <c:pt idx="20">
                  <c:v>省份21</c:v>
                </c:pt>
                <c:pt idx="21">
                  <c:v>省份22</c:v>
                </c:pt>
                <c:pt idx="22">
                  <c:v>省份23</c:v>
                </c:pt>
                <c:pt idx="23">
                  <c:v>省份24</c:v>
                </c:pt>
                <c:pt idx="24">
                  <c:v>省份25</c:v>
                </c:pt>
                <c:pt idx="25">
                  <c:v>省份26</c:v>
                </c:pt>
                <c:pt idx="26">
                  <c:v>省份27</c:v>
                </c:pt>
                <c:pt idx="27">
                  <c:v>省份28</c:v>
                </c:pt>
                <c:pt idx="28">
                  <c:v>省份29</c:v>
                </c:pt>
                <c:pt idx="29">
                  <c:v>省份30</c:v>
                </c:pt>
                <c:pt idx="30">
                  <c:v>省份31</c:v>
                </c:pt>
              </c:strCache>
            </c:strRef>
          </c:cat>
          <c:val>
            <c:numRef>
              <c:f>Sheet1!$G$2:$G$32</c:f>
              <c:numCache>
                <c:formatCode>0</c:formatCode>
                <c:ptCount val="31"/>
                <c:pt idx="0">
                  <c:v>95</c:v>
                </c:pt>
                <c:pt idx="1">
                  <c:v>96</c:v>
                </c:pt>
                <c:pt idx="2">
                  <c:v>97</c:v>
                </c:pt>
                <c:pt idx="3">
                  <c:v>98</c:v>
                </c:pt>
                <c:pt idx="4">
                  <c:v>99</c:v>
                </c:pt>
                <c:pt idx="5">
                  <c:v>95</c:v>
                </c:pt>
                <c:pt idx="6">
                  <c:v>96</c:v>
                </c:pt>
                <c:pt idx="7">
                  <c:v>97</c:v>
                </c:pt>
                <c:pt idx="8">
                  <c:v>98</c:v>
                </c:pt>
                <c:pt idx="9">
                  <c:v>99</c:v>
                </c:pt>
                <c:pt idx="10">
                  <c:v>95</c:v>
                </c:pt>
                <c:pt idx="11">
                  <c:v>96</c:v>
                </c:pt>
                <c:pt idx="12">
                  <c:v>97</c:v>
                </c:pt>
                <c:pt idx="13">
                  <c:v>98</c:v>
                </c:pt>
                <c:pt idx="14">
                  <c:v>99</c:v>
                </c:pt>
                <c:pt idx="15">
                  <c:v>95</c:v>
                </c:pt>
                <c:pt idx="16">
                  <c:v>96</c:v>
                </c:pt>
                <c:pt idx="17">
                  <c:v>97</c:v>
                </c:pt>
                <c:pt idx="18">
                  <c:v>98</c:v>
                </c:pt>
                <c:pt idx="19">
                  <c:v>99</c:v>
                </c:pt>
                <c:pt idx="20">
                  <c:v>95</c:v>
                </c:pt>
                <c:pt idx="21">
                  <c:v>96</c:v>
                </c:pt>
                <c:pt idx="22">
                  <c:v>97</c:v>
                </c:pt>
                <c:pt idx="23">
                  <c:v>98</c:v>
                </c:pt>
                <c:pt idx="24">
                  <c:v>99</c:v>
                </c:pt>
                <c:pt idx="25">
                  <c:v>95</c:v>
                </c:pt>
                <c:pt idx="26">
                  <c:v>96</c:v>
                </c:pt>
                <c:pt idx="27">
                  <c:v>97</c:v>
                </c:pt>
                <c:pt idx="28">
                  <c:v>98</c:v>
                </c:pt>
                <c:pt idx="29">
                  <c:v>99</c:v>
                </c:pt>
                <c:pt idx="30">
                  <c:v>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76B-4CF0-96C5-585EDF8206FE}"/>
            </c:ext>
          </c:extLst>
        </c:ser>
        <c:ser>
          <c:idx val="7"/>
          <c:order val="6"/>
          <c:tx>
            <c:strRef>
              <c:f>Sheet1!$H$1</c:f>
              <c:strCache>
                <c:ptCount val="1"/>
                <c:pt idx="0">
                  <c:v>EV_Competitor2</c:v>
                </c:pt>
              </c:strCache>
            </c:strRef>
          </c:tx>
          <c:spPr>
            <a:ln w="19050">
              <a:solidFill>
                <a:schemeClr val="accent2">
                  <a:lumMod val="75000"/>
                </a:schemeClr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2">
                    <a:lumMod val="75000"/>
                  </a:schemeClr>
                </a:solidFill>
              </a:ln>
            </c:spPr>
          </c:marker>
          <c:cat>
            <c:strRef>
              <c:f>Sheet1!$A$2:$A$32</c:f>
              <c:strCache>
                <c:ptCount val="31"/>
                <c:pt idx="0">
                  <c:v>省份1</c:v>
                </c:pt>
                <c:pt idx="1">
                  <c:v>省份2</c:v>
                </c:pt>
                <c:pt idx="2">
                  <c:v>省份3</c:v>
                </c:pt>
                <c:pt idx="3">
                  <c:v>省份4</c:v>
                </c:pt>
                <c:pt idx="4">
                  <c:v>省份5</c:v>
                </c:pt>
                <c:pt idx="5">
                  <c:v>省份6</c:v>
                </c:pt>
                <c:pt idx="6">
                  <c:v>省份7</c:v>
                </c:pt>
                <c:pt idx="7">
                  <c:v>省份8</c:v>
                </c:pt>
                <c:pt idx="8">
                  <c:v>省份9</c:v>
                </c:pt>
                <c:pt idx="9">
                  <c:v>省份10</c:v>
                </c:pt>
                <c:pt idx="10">
                  <c:v>省份11</c:v>
                </c:pt>
                <c:pt idx="11">
                  <c:v>省份12</c:v>
                </c:pt>
                <c:pt idx="12">
                  <c:v>省份13</c:v>
                </c:pt>
                <c:pt idx="13">
                  <c:v>省份14</c:v>
                </c:pt>
                <c:pt idx="14">
                  <c:v>省份15</c:v>
                </c:pt>
                <c:pt idx="15">
                  <c:v>省份16</c:v>
                </c:pt>
                <c:pt idx="16">
                  <c:v>省份17</c:v>
                </c:pt>
                <c:pt idx="17">
                  <c:v>省份18</c:v>
                </c:pt>
                <c:pt idx="18">
                  <c:v>省份19</c:v>
                </c:pt>
                <c:pt idx="19">
                  <c:v>省份20</c:v>
                </c:pt>
                <c:pt idx="20">
                  <c:v>省份21</c:v>
                </c:pt>
                <c:pt idx="21">
                  <c:v>省份22</c:v>
                </c:pt>
                <c:pt idx="22">
                  <c:v>省份23</c:v>
                </c:pt>
                <c:pt idx="23">
                  <c:v>省份24</c:v>
                </c:pt>
                <c:pt idx="24">
                  <c:v>省份25</c:v>
                </c:pt>
                <c:pt idx="25">
                  <c:v>省份26</c:v>
                </c:pt>
                <c:pt idx="26">
                  <c:v>省份27</c:v>
                </c:pt>
                <c:pt idx="27">
                  <c:v>省份28</c:v>
                </c:pt>
                <c:pt idx="28">
                  <c:v>省份29</c:v>
                </c:pt>
                <c:pt idx="29">
                  <c:v>省份30</c:v>
                </c:pt>
                <c:pt idx="30">
                  <c:v>省份31</c:v>
                </c:pt>
              </c:strCache>
            </c:strRef>
          </c:cat>
          <c:val>
            <c:numRef>
              <c:f>Sheet1!$H$2:$H$32</c:f>
              <c:numCache>
                <c:formatCode>0</c:formatCode>
                <c:ptCount val="31"/>
                <c:pt idx="0">
                  <c:v>90</c:v>
                </c:pt>
                <c:pt idx="1">
                  <c:v>90</c:v>
                </c:pt>
                <c:pt idx="2">
                  <c:v>90</c:v>
                </c:pt>
                <c:pt idx="3">
                  <c:v>90</c:v>
                </c:pt>
                <c:pt idx="4">
                  <c:v>90</c:v>
                </c:pt>
                <c:pt idx="5">
                  <c:v>90</c:v>
                </c:pt>
                <c:pt idx="6">
                  <c:v>90</c:v>
                </c:pt>
                <c:pt idx="7">
                  <c:v>90</c:v>
                </c:pt>
                <c:pt idx="8">
                  <c:v>90</c:v>
                </c:pt>
                <c:pt idx="9">
                  <c:v>90</c:v>
                </c:pt>
                <c:pt idx="10">
                  <c:v>90</c:v>
                </c:pt>
                <c:pt idx="11">
                  <c:v>90</c:v>
                </c:pt>
                <c:pt idx="12">
                  <c:v>90</c:v>
                </c:pt>
                <c:pt idx="13">
                  <c:v>90</c:v>
                </c:pt>
                <c:pt idx="14">
                  <c:v>90</c:v>
                </c:pt>
                <c:pt idx="15">
                  <c:v>90</c:v>
                </c:pt>
                <c:pt idx="16">
                  <c:v>90</c:v>
                </c:pt>
                <c:pt idx="17">
                  <c:v>90</c:v>
                </c:pt>
                <c:pt idx="18">
                  <c:v>90</c:v>
                </c:pt>
                <c:pt idx="19">
                  <c:v>90</c:v>
                </c:pt>
                <c:pt idx="20">
                  <c:v>90</c:v>
                </c:pt>
                <c:pt idx="21">
                  <c:v>90</c:v>
                </c:pt>
                <c:pt idx="22">
                  <c:v>90</c:v>
                </c:pt>
                <c:pt idx="23">
                  <c:v>90</c:v>
                </c:pt>
                <c:pt idx="24">
                  <c:v>90</c:v>
                </c:pt>
                <c:pt idx="25">
                  <c:v>90</c:v>
                </c:pt>
                <c:pt idx="26">
                  <c:v>90</c:v>
                </c:pt>
                <c:pt idx="27">
                  <c:v>90</c:v>
                </c:pt>
                <c:pt idx="28">
                  <c:v>90</c:v>
                </c:pt>
                <c:pt idx="29">
                  <c:v>90</c:v>
                </c:pt>
                <c:pt idx="30">
                  <c:v>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376B-4CF0-96C5-585EDF8206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22738960"/>
        <c:axId val="522738568"/>
      </c:lineChart>
      <c:catAx>
        <c:axId val="5227479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522737784"/>
        <c:crosses val="autoZero"/>
        <c:auto val="1"/>
        <c:lblAlgn val="ctr"/>
        <c:lblOffset val="100"/>
        <c:noMultiLvlLbl val="0"/>
      </c:catAx>
      <c:valAx>
        <c:axId val="522737784"/>
        <c:scaling>
          <c:orientation val="minMax"/>
          <c:max val="1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altLang="zh-CN" dirty="0"/>
                  <a:t>Share</a:t>
                </a:r>
                <a:endParaRPr lang="zh-CN" dirty="0"/>
              </a:p>
            </c:rich>
          </c:tx>
          <c:layout>
            <c:manualLayout>
              <c:xMode val="edge"/>
              <c:yMode val="edge"/>
              <c:x val="9.3689986760504509E-2"/>
              <c:y val="3.5400272566550428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522747976"/>
        <c:crosses val="autoZero"/>
        <c:crossBetween val="between"/>
      </c:valAx>
      <c:valAx>
        <c:axId val="522738568"/>
        <c:scaling>
          <c:orientation val="minMax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altLang="zh-CN" dirty="0"/>
                  <a:t>EV</a:t>
                </a:r>
              </a:p>
            </c:rich>
          </c:tx>
          <c:layout>
            <c:manualLayout>
              <c:xMode val="edge"/>
              <c:yMode val="edge"/>
              <c:x val="0.97336863064530732"/>
              <c:y val="3.6121772258864621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#,##0_);[Red]\(#,##0\)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522738960"/>
        <c:crosses val="max"/>
        <c:crossBetween val="between"/>
      </c:valAx>
      <c:catAx>
        <c:axId val="52273896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22738568"/>
        <c:crosses val="autoZero"/>
        <c:auto val="1"/>
        <c:lblAlgn val="ctr"/>
        <c:lblOffset val="100"/>
        <c:noMultiLvlLbl val="0"/>
      </c:cat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/>
          <a:lstStyle/>
          <a:p>
            <a:pPr rtl="0">
              <a:defRPr sz="700">
                <a:latin typeface="+mj-lt"/>
              </a:defRPr>
            </a:pPr>
            <a:endParaRPr lang="zh-CN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>
          <a:latin typeface="+mj-lt"/>
        </a:defRPr>
      </a:pPr>
      <a:endParaRPr lang="zh-CN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alue(Mn)</c:v>
                </c:pt>
              </c:strCache>
            </c:strRef>
          </c:tx>
          <c:spPr>
            <a:solidFill>
              <a:schemeClr val="bg2">
                <a:lumMod val="90000"/>
              </a:schemeClr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15M04
YTD</c:v>
                </c:pt>
                <c:pt idx="1">
                  <c:v>16M04
YTD</c:v>
                </c:pt>
                <c:pt idx="2">
                  <c:v>17M04
YTD</c:v>
                </c:pt>
                <c:pt idx="3">
                  <c:v>18M04
YTD</c:v>
                </c:pt>
                <c:pt idx="4">
                  <c:v>19M04
YTD</c:v>
                </c:pt>
              </c:strCache>
            </c:strRef>
          </c:cat>
          <c:val>
            <c:numRef>
              <c:f>Sheet1!$B$2:$B$6</c:f>
              <c:numCache>
                <c:formatCode>_ * #,##0_ ;_ * \-#,##0_ ;_ * "-"??_ ;_ @_ </c:formatCode>
                <c:ptCount val="5"/>
                <c:pt idx="0">
                  <c:v>12451</c:v>
                </c:pt>
                <c:pt idx="1">
                  <c:v>15288</c:v>
                </c:pt>
                <c:pt idx="2">
                  <c:v>17749</c:v>
                </c:pt>
                <c:pt idx="3">
                  <c:v>15288</c:v>
                </c:pt>
                <c:pt idx="4">
                  <c:v>177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16-4201-9208-81EE764A6C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421370704"/>
        <c:axId val="42137344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%</c:v>
                </c:pt>
              </c:strCache>
            </c:strRef>
          </c:tx>
          <c:spPr>
            <a:ln w="19050" cap="flat" cmpd="sng" algn="ctr">
              <a:solidFill>
                <a:schemeClr val="accent2"/>
              </a:solidFill>
              <a:prstDash val="solid"/>
              <a:miter lim="800000"/>
            </a:ln>
            <a:effectLst/>
          </c:spPr>
          <c:marker>
            <c:symbol val="circle"/>
            <c:size val="4"/>
            <c:spPr>
              <a:ln w="19050">
                <a:solidFill>
                  <a:schemeClr val="accent2"/>
                </a:solidFill>
                <a:prstDash val="solid"/>
              </a:ln>
            </c:spPr>
          </c:marker>
          <c:cat>
            <c:strRef>
              <c:f>Sheet1!$A$2:$A$6</c:f>
              <c:strCache>
                <c:ptCount val="5"/>
                <c:pt idx="0">
                  <c:v>15M04
YTD</c:v>
                </c:pt>
                <c:pt idx="1">
                  <c:v>16M04
YTD</c:v>
                </c:pt>
                <c:pt idx="2">
                  <c:v>17M04
YTD</c:v>
                </c:pt>
                <c:pt idx="3">
                  <c:v>18M04
YTD</c:v>
                </c:pt>
                <c:pt idx="4">
                  <c:v>19M04
YTD</c:v>
                </c:pt>
              </c:strCache>
            </c:strRef>
          </c:cat>
          <c:val>
            <c:numRef>
              <c:f>Sheet1!$C$2:$C$6</c:f>
              <c:numCache>
                <c:formatCode>0%</c:formatCode>
                <c:ptCount val="5"/>
                <c:pt idx="1">
                  <c:v>0.22785318448317393</c:v>
                </c:pt>
                <c:pt idx="2">
                  <c:v>0.16097592883307166</c:v>
                </c:pt>
                <c:pt idx="3">
                  <c:v>-0.13865569891261476</c:v>
                </c:pt>
                <c:pt idx="4">
                  <c:v>0.160975928833071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716-4201-9208-81EE764A6C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21370312"/>
        <c:axId val="421375016"/>
      </c:lineChart>
      <c:catAx>
        <c:axId val="4213707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421373448"/>
        <c:crosses val="autoZero"/>
        <c:auto val="1"/>
        <c:lblAlgn val="ctr"/>
        <c:lblOffset val="100"/>
        <c:noMultiLvlLbl val="0"/>
      </c:catAx>
      <c:valAx>
        <c:axId val="421373448"/>
        <c:scaling>
          <c:orientation val="minMax"/>
        </c:scaling>
        <c:delete val="0"/>
        <c:axPos val="l"/>
        <c:numFmt formatCode="#,##0_);[Red]\(#,##0\)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421370704"/>
        <c:crosses val="autoZero"/>
        <c:crossBetween val="between"/>
      </c:valAx>
      <c:valAx>
        <c:axId val="421375016"/>
        <c:scaling>
          <c:orientation val="minMax"/>
        </c:scaling>
        <c:delete val="0"/>
        <c:axPos val="r"/>
        <c:numFmt formatCode="0%" sourceLinked="0"/>
        <c:majorTickMark val="out"/>
        <c:minorTickMark val="none"/>
        <c:tickLblPos val="nextTo"/>
        <c:spPr>
          <a:ln>
            <a:noFill/>
          </a:ln>
        </c:spPr>
        <c:crossAx val="421370312"/>
        <c:crosses val="max"/>
        <c:crossBetween val="between"/>
      </c:valAx>
      <c:catAx>
        <c:axId val="4213703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21375016"/>
        <c:crosses val="autoZero"/>
        <c:auto val="1"/>
        <c:lblAlgn val="ctr"/>
        <c:lblOffset val="100"/>
        <c:noMultiLvlLbl val="0"/>
      </c:cat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vert="horz"/>
          <a:lstStyle/>
          <a:p>
            <a:pPr rtl="0">
              <a:defRPr sz="700"/>
            </a:pPr>
            <a:endParaRPr lang="zh-CN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tx1"/>
          </a:solidFill>
          <a:latin typeface="+mn-lt"/>
        </a:defRPr>
      </a:pPr>
      <a:endParaRPr lang="zh-CN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935858128353424"/>
          <c:y val="3.9855083834041946E-2"/>
          <c:w val="0.79692228183866398"/>
          <c:h val="0.57233383896320866"/>
        </c:manualLayout>
      </c:layout>
      <c:barChart>
        <c:barDir val="col"/>
        <c:grouping val="stacked"/>
        <c:varyColors val="0"/>
        <c:ser>
          <c:idx val="3"/>
          <c:order val="0"/>
          <c:tx>
            <c:strRef>
              <c:f>Sheet1!$E$1</c:f>
              <c:strCache>
                <c:ptCount val="1"/>
                <c:pt idx="0">
                  <c:v>Others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6350">
              <a:solidFill>
                <a:schemeClr val="bg1"/>
              </a:solidFill>
              <a:prstDash val="solid"/>
            </a:ln>
          </c:spPr>
          <c:invertIfNegative val="0"/>
          <c:cat>
            <c:strRef>
              <c:f>Sheet1!$A$2:$A$32</c:f>
              <c:strCache>
                <c:ptCount val="31"/>
                <c:pt idx="0">
                  <c:v>省份1</c:v>
                </c:pt>
                <c:pt idx="1">
                  <c:v>省份2</c:v>
                </c:pt>
                <c:pt idx="2">
                  <c:v>省份3</c:v>
                </c:pt>
                <c:pt idx="3">
                  <c:v>省份4</c:v>
                </c:pt>
                <c:pt idx="4">
                  <c:v>省份5</c:v>
                </c:pt>
                <c:pt idx="5">
                  <c:v>省份6</c:v>
                </c:pt>
                <c:pt idx="6">
                  <c:v>省份7</c:v>
                </c:pt>
                <c:pt idx="7">
                  <c:v>省份8</c:v>
                </c:pt>
                <c:pt idx="8">
                  <c:v>省份9</c:v>
                </c:pt>
                <c:pt idx="9">
                  <c:v>省份10</c:v>
                </c:pt>
                <c:pt idx="10">
                  <c:v>省份11</c:v>
                </c:pt>
                <c:pt idx="11">
                  <c:v>省份12</c:v>
                </c:pt>
                <c:pt idx="12">
                  <c:v>省份13</c:v>
                </c:pt>
                <c:pt idx="13">
                  <c:v>省份14</c:v>
                </c:pt>
                <c:pt idx="14">
                  <c:v>省份15</c:v>
                </c:pt>
                <c:pt idx="15">
                  <c:v>省份16</c:v>
                </c:pt>
                <c:pt idx="16">
                  <c:v>省份17</c:v>
                </c:pt>
                <c:pt idx="17">
                  <c:v>省份18</c:v>
                </c:pt>
                <c:pt idx="18">
                  <c:v>省份19</c:v>
                </c:pt>
                <c:pt idx="19">
                  <c:v>省份20</c:v>
                </c:pt>
                <c:pt idx="20">
                  <c:v>省份21</c:v>
                </c:pt>
                <c:pt idx="21">
                  <c:v>省份22</c:v>
                </c:pt>
                <c:pt idx="22">
                  <c:v>省份23</c:v>
                </c:pt>
                <c:pt idx="23">
                  <c:v>省份24</c:v>
                </c:pt>
                <c:pt idx="24">
                  <c:v>省份25</c:v>
                </c:pt>
                <c:pt idx="25">
                  <c:v>省份26</c:v>
                </c:pt>
                <c:pt idx="26">
                  <c:v>省份27</c:v>
                </c:pt>
                <c:pt idx="27">
                  <c:v>省份28</c:v>
                </c:pt>
                <c:pt idx="28">
                  <c:v>省份29</c:v>
                </c:pt>
                <c:pt idx="29">
                  <c:v>省份30</c:v>
                </c:pt>
                <c:pt idx="30">
                  <c:v>省份31</c:v>
                </c:pt>
              </c:strCache>
            </c:strRef>
          </c:cat>
          <c:val>
            <c:numRef>
              <c:f>Sheet1!$E$2:$E$32</c:f>
              <c:numCache>
                <c:formatCode>0.0%</c:formatCode>
                <c:ptCount val="31"/>
                <c:pt idx="0">
                  <c:v>0.81</c:v>
                </c:pt>
                <c:pt idx="1">
                  <c:v>0.81</c:v>
                </c:pt>
                <c:pt idx="2">
                  <c:v>0.81</c:v>
                </c:pt>
                <c:pt idx="3">
                  <c:v>0.81</c:v>
                </c:pt>
                <c:pt idx="4">
                  <c:v>0.81</c:v>
                </c:pt>
                <c:pt idx="5">
                  <c:v>0.81</c:v>
                </c:pt>
                <c:pt idx="6">
                  <c:v>0.81</c:v>
                </c:pt>
                <c:pt idx="7">
                  <c:v>0.81</c:v>
                </c:pt>
                <c:pt idx="8">
                  <c:v>0.81</c:v>
                </c:pt>
                <c:pt idx="9">
                  <c:v>0.81</c:v>
                </c:pt>
                <c:pt idx="10">
                  <c:v>0.81</c:v>
                </c:pt>
                <c:pt idx="11">
                  <c:v>0.81</c:v>
                </c:pt>
                <c:pt idx="12">
                  <c:v>0.81</c:v>
                </c:pt>
                <c:pt idx="13">
                  <c:v>0.81</c:v>
                </c:pt>
                <c:pt idx="14">
                  <c:v>0.81</c:v>
                </c:pt>
                <c:pt idx="15">
                  <c:v>0.81</c:v>
                </c:pt>
                <c:pt idx="16">
                  <c:v>0.81</c:v>
                </c:pt>
                <c:pt idx="17">
                  <c:v>0.81</c:v>
                </c:pt>
                <c:pt idx="18">
                  <c:v>0.81</c:v>
                </c:pt>
                <c:pt idx="19">
                  <c:v>0.81</c:v>
                </c:pt>
                <c:pt idx="20">
                  <c:v>0.81</c:v>
                </c:pt>
                <c:pt idx="21">
                  <c:v>0.81</c:v>
                </c:pt>
                <c:pt idx="22">
                  <c:v>0.81</c:v>
                </c:pt>
                <c:pt idx="23">
                  <c:v>0.81</c:v>
                </c:pt>
                <c:pt idx="24">
                  <c:v>0.81</c:v>
                </c:pt>
                <c:pt idx="25">
                  <c:v>0.81</c:v>
                </c:pt>
                <c:pt idx="26">
                  <c:v>0.81</c:v>
                </c:pt>
                <c:pt idx="27">
                  <c:v>0.81</c:v>
                </c:pt>
                <c:pt idx="28">
                  <c:v>0.81</c:v>
                </c:pt>
                <c:pt idx="29">
                  <c:v>0.81</c:v>
                </c:pt>
                <c:pt idx="30">
                  <c:v>0.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78-402F-92A6-308A76459F3E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Competitor2</c:v>
                </c:pt>
              </c:strCache>
            </c:strRef>
          </c:tx>
          <c:spPr>
            <a:solidFill>
              <a:schemeClr val="accent2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32</c:f>
              <c:strCache>
                <c:ptCount val="31"/>
                <c:pt idx="0">
                  <c:v>省份1</c:v>
                </c:pt>
                <c:pt idx="1">
                  <c:v>省份2</c:v>
                </c:pt>
                <c:pt idx="2">
                  <c:v>省份3</c:v>
                </c:pt>
                <c:pt idx="3">
                  <c:v>省份4</c:v>
                </c:pt>
                <c:pt idx="4">
                  <c:v>省份5</c:v>
                </c:pt>
                <c:pt idx="5">
                  <c:v>省份6</c:v>
                </c:pt>
                <c:pt idx="6">
                  <c:v>省份7</c:v>
                </c:pt>
                <c:pt idx="7">
                  <c:v>省份8</c:v>
                </c:pt>
                <c:pt idx="8">
                  <c:v>省份9</c:v>
                </c:pt>
                <c:pt idx="9">
                  <c:v>省份10</c:v>
                </c:pt>
                <c:pt idx="10">
                  <c:v>省份11</c:v>
                </c:pt>
                <c:pt idx="11">
                  <c:v>省份12</c:v>
                </c:pt>
                <c:pt idx="12">
                  <c:v>省份13</c:v>
                </c:pt>
                <c:pt idx="13">
                  <c:v>省份14</c:v>
                </c:pt>
                <c:pt idx="14">
                  <c:v>省份15</c:v>
                </c:pt>
                <c:pt idx="15">
                  <c:v>省份16</c:v>
                </c:pt>
                <c:pt idx="16">
                  <c:v>省份17</c:v>
                </c:pt>
                <c:pt idx="17">
                  <c:v>省份18</c:v>
                </c:pt>
                <c:pt idx="18">
                  <c:v>省份19</c:v>
                </c:pt>
                <c:pt idx="19">
                  <c:v>省份20</c:v>
                </c:pt>
                <c:pt idx="20">
                  <c:v>省份21</c:v>
                </c:pt>
                <c:pt idx="21">
                  <c:v>省份22</c:v>
                </c:pt>
                <c:pt idx="22">
                  <c:v>省份23</c:v>
                </c:pt>
                <c:pt idx="23">
                  <c:v>省份24</c:v>
                </c:pt>
                <c:pt idx="24">
                  <c:v>省份25</c:v>
                </c:pt>
                <c:pt idx="25">
                  <c:v>省份26</c:v>
                </c:pt>
                <c:pt idx="26">
                  <c:v>省份27</c:v>
                </c:pt>
                <c:pt idx="27">
                  <c:v>省份28</c:v>
                </c:pt>
                <c:pt idx="28">
                  <c:v>省份29</c:v>
                </c:pt>
                <c:pt idx="29">
                  <c:v>省份30</c:v>
                </c:pt>
                <c:pt idx="30">
                  <c:v>省份31</c:v>
                </c:pt>
              </c:strCache>
            </c:strRef>
          </c:cat>
          <c:val>
            <c:numRef>
              <c:f>Sheet1!$D$2:$D$32</c:f>
              <c:numCache>
                <c:formatCode>0.0%</c:formatCode>
                <c:ptCount val="31"/>
                <c:pt idx="0">
                  <c:v>0.06</c:v>
                </c:pt>
                <c:pt idx="1">
                  <c:v>0.06</c:v>
                </c:pt>
                <c:pt idx="2">
                  <c:v>0.06</c:v>
                </c:pt>
                <c:pt idx="3">
                  <c:v>0.06</c:v>
                </c:pt>
                <c:pt idx="4">
                  <c:v>0.06</c:v>
                </c:pt>
                <c:pt idx="5">
                  <c:v>0.06</c:v>
                </c:pt>
                <c:pt idx="6">
                  <c:v>0.06</c:v>
                </c:pt>
                <c:pt idx="7">
                  <c:v>0.06</c:v>
                </c:pt>
                <c:pt idx="8">
                  <c:v>0.06</c:v>
                </c:pt>
                <c:pt idx="9">
                  <c:v>0.06</c:v>
                </c:pt>
                <c:pt idx="10">
                  <c:v>0.06</c:v>
                </c:pt>
                <c:pt idx="11">
                  <c:v>0.06</c:v>
                </c:pt>
                <c:pt idx="12">
                  <c:v>0.06</c:v>
                </c:pt>
                <c:pt idx="13">
                  <c:v>0.06</c:v>
                </c:pt>
                <c:pt idx="14">
                  <c:v>0.06</c:v>
                </c:pt>
                <c:pt idx="15">
                  <c:v>0.06</c:v>
                </c:pt>
                <c:pt idx="16">
                  <c:v>0.06</c:v>
                </c:pt>
                <c:pt idx="17">
                  <c:v>0.06</c:v>
                </c:pt>
                <c:pt idx="18">
                  <c:v>0.06</c:v>
                </c:pt>
                <c:pt idx="19">
                  <c:v>0.06</c:v>
                </c:pt>
                <c:pt idx="20">
                  <c:v>0.06</c:v>
                </c:pt>
                <c:pt idx="21">
                  <c:v>0.06</c:v>
                </c:pt>
                <c:pt idx="22">
                  <c:v>0.06</c:v>
                </c:pt>
                <c:pt idx="23">
                  <c:v>0.06</c:v>
                </c:pt>
                <c:pt idx="24">
                  <c:v>0.06</c:v>
                </c:pt>
                <c:pt idx="25">
                  <c:v>0.06</c:v>
                </c:pt>
                <c:pt idx="26">
                  <c:v>0.06</c:v>
                </c:pt>
                <c:pt idx="27">
                  <c:v>0.06</c:v>
                </c:pt>
                <c:pt idx="28">
                  <c:v>0.06</c:v>
                </c:pt>
                <c:pt idx="29">
                  <c:v>0.06</c:v>
                </c:pt>
                <c:pt idx="30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078-402F-92A6-308A76459F3E}"/>
            </c:ext>
          </c:extLst>
        </c:ser>
        <c:ser>
          <c:idx val="1"/>
          <c:order val="2"/>
          <c:tx>
            <c:strRef>
              <c:f>Sheet1!$C$1</c:f>
              <c:strCache>
                <c:ptCount val="1"/>
                <c:pt idx="0">
                  <c:v>Competitor1</c:v>
                </c:pt>
              </c:strCache>
            </c:strRef>
          </c:tx>
          <c:spPr>
            <a:solidFill>
              <a:schemeClr val="accent1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32</c:f>
              <c:strCache>
                <c:ptCount val="31"/>
                <c:pt idx="0">
                  <c:v>省份1</c:v>
                </c:pt>
                <c:pt idx="1">
                  <c:v>省份2</c:v>
                </c:pt>
                <c:pt idx="2">
                  <c:v>省份3</c:v>
                </c:pt>
                <c:pt idx="3">
                  <c:v>省份4</c:v>
                </c:pt>
                <c:pt idx="4">
                  <c:v>省份5</c:v>
                </c:pt>
                <c:pt idx="5">
                  <c:v>省份6</c:v>
                </c:pt>
                <c:pt idx="6">
                  <c:v>省份7</c:v>
                </c:pt>
                <c:pt idx="7">
                  <c:v>省份8</c:v>
                </c:pt>
                <c:pt idx="8">
                  <c:v>省份9</c:v>
                </c:pt>
                <c:pt idx="9">
                  <c:v>省份10</c:v>
                </c:pt>
                <c:pt idx="10">
                  <c:v>省份11</c:v>
                </c:pt>
                <c:pt idx="11">
                  <c:v>省份12</c:v>
                </c:pt>
                <c:pt idx="12">
                  <c:v>省份13</c:v>
                </c:pt>
                <c:pt idx="13">
                  <c:v>省份14</c:v>
                </c:pt>
                <c:pt idx="14">
                  <c:v>省份15</c:v>
                </c:pt>
                <c:pt idx="15">
                  <c:v>省份16</c:v>
                </c:pt>
                <c:pt idx="16">
                  <c:v>省份17</c:v>
                </c:pt>
                <c:pt idx="17">
                  <c:v>省份18</c:v>
                </c:pt>
                <c:pt idx="18">
                  <c:v>省份19</c:v>
                </c:pt>
                <c:pt idx="19">
                  <c:v>省份20</c:v>
                </c:pt>
                <c:pt idx="20">
                  <c:v>省份21</c:v>
                </c:pt>
                <c:pt idx="21">
                  <c:v>省份22</c:v>
                </c:pt>
                <c:pt idx="22">
                  <c:v>省份23</c:v>
                </c:pt>
                <c:pt idx="23">
                  <c:v>省份24</c:v>
                </c:pt>
                <c:pt idx="24">
                  <c:v>省份25</c:v>
                </c:pt>
                <c:pt idx="25">
                  <c:v>省份26</c:v>
                </c:pt>
                <c:pt idx="26">
                  <c:v>省份27</c:v>
                </c:pt>
                <c:pt idx="27">
                  <c:v>省份28</c:v>
                </c:pt>
                <c:pt idx="28">
                  <c:v>省份29</c:v>
                </c:pt>
                <c:pt idx="29">
                  <c:v>省份30</c:v>
                </c:pt>
                <c:pt idx="30">
                  <c:v>省份31</c:v>
                </c:pt>
              </c:strCache>
            </c:strRef>
          </c:cat>
          <c:val>
            <c:numRef>
              <c:f>Sheet1!$C$2:$C$32</c:f>
              <c:numCache>
                <c:formatCode>0.0%</c:formatCode>
                <c:ptCount val="31"/>
                <c:pt idx="0">
                  <c:v>0.08</c:v>
                </c:pt>
                <c:pt idx="1">
                  <c:v>0.08</c:v>
                </c:pt>
                <c:pt idx="2">
                  <c:v>0.08</c:v>
                </c:pt>
                <c:pt idx="3">
                  <c:v>0.08</c:v>
                </c:pt>
                <c:pt idx="4">
                  <c:v>0.08</c:v>
                </c:pt>
                <c:pt idx="5">
                  <c:v>0.08</c:v>
                </c:pt>
                <c:pt idx="6">
                  <c:v>0.08</c:v>
                </c:pt>
                <c:pt idx="7">
                  <c:v>0.08</c:v>
                </c:pt>
                <c:pt idx="8">
                  <c:v>0.08</c:v>
                </c:pt>
                <c:pt idx="9">
                  <c:v>0.08</c:v>
                </c:pt>
                <c:pt idx="10">
                  <c:v>0.08</c:v>
                </c:pt>
                <c:pt idx="11">
                  <c:v>0.08</c:v>
                </c:pt>
                <c:pt idx="12">
                  <c:v>0.08</c:v>
                </c:pt>
                <c:pt idx="13">
                  <c:v>0.08</c:v>
                </c:pt>
                <c:pt idx="14">
                  <c:v>0.08</c:v>
                </c:pt>
                <c:pt idx="15">
                  <c:v>0.08</c:v>
                </c:pt>
                <c:pt idx="16">
                  <c:v>0.08</c:v>
                </c:pt>
                <c:pt idx="17">
                  <c:v>0.08</c:v>
                </c:pt>
                <c:pt idx="18">
                  <c:v>0.08</c:v>
                </c:pt>
                <c:pt idx="19">
                  <c:v>0.08</c:v>
                </c:pt>
                <c:pt idx="20">
                  <c:v>0.08</c:v>
                </c:pt>
                <c:pt idx="21">
                  <c:v>0.08</c:v>
                </c:pt>
                <c:pt idx="22">
                  <c:v>0.08</c:v>
                </c:pt>
                <c:pt idx="23">
                  <c:v>0.08</c:v>
                </c:pt>
                <c:pt idx="24">
                  <c:v>0.08</c:v>
                </c:pt>
                <c:pt idx="25">
                  <c:v>0.08</c:v>
                </c:pt>
                <c:pt idx="26">
                  <c:v>0.08</c:v>
                </c:pt>
                <c:pt idx="27">
                  <c:v>0.08</c:v>
                </c:pt>
                <c:pt idx="28">
                  <c:v>0.08</c:v>
                </c:pt>
                <c:pt idx="29">
                  <c:v>0.08</c:v>
                </c:pt>
                <c:pt idx="30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078-402F-92A6-308A76459F3E}"/>
            </c:ext>
          </c:extLst>
        </c:ser>
        <c:ser>
          <c:idx val="0"/>
          <c:order val="3"/>
          <c:tx>
            <c:strRef>
              <c:f>Sheet1!$B$1</c:f>
              <c:strCache>
                <c:ptCount val="1"/>
                <c:pt idx="0">
                  <c:v>Int Prod</c:v>
                </c:pt>
              </c:strCache>
            </c:strRef>
          </c:tx>
          <c:spPr>
            <a:solidFill>
              <a:srgbClr val="FF0000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32</c:f>
              <c:strCache>
                <c:ptCount val="31"/>
                <c:pt idx="0">
                  <c:v>省份1</c:v>
                </c:pt>
                <c:pt idx="1">
                  <c:v>省份2</c:v>
                </c:pt>
                <c:pt idx="2">
                  <c:v>省份3</c:v>
                </c:pt>
                <c:pt idx="3">
                  <c:v>省份4</c:v>
                </c:pt>
                <c:pt idx="4">
                  <c:v>省份5</c:v>
                </c:pt>
                <c:pt idx="5">
                  <c:v>省份6</c:v>
                </c:pt>
                <c:pt idx="6">
                  <c:v>省份7</c:v>
                </c:pt>
                <c:pt idx="7">
                  <c:v>省份8</c:v>
                </c:pt>
                <c:pt idx="8">
                  <c:v>省份9</c:v>
                </c:pt>
                <c:pt idx="9">
                  <c:v>省份10</c:v>
                </c:pt>
                <c:pt idx="10">
                  <c:v>省份11</c:v>
                </c:pt>
                <c:pt idx="11">
                  <c:v>省份12</c:v>
                </c:pt>
                <c:pt idx="12">
                  <c:v>省份13</c:v>
                </c:pt>
                <c:pt idx="13">
                  <c:v>省份14</c:v>
                </c:pt>
                <c:pt idx="14">
                  <c:v>省份15</c:v>
                </c:pt>
                <c:pt idx="15">
                  <c:v>省份16</c:v>
                </c:pt>
                <c:pt idx="16">
                  <c:v>省份17</c:v>
                </c:pt>
                <c:pt idx="17">
                  <c:v>省份18</c:v>
                </c:pt>
                <c:pt idx="18">
                  <c:v>省份19</c:v>
                </c:pt>
                <c:pt idx="19">
                  <c:v>省份20</c:v>
                </c:pt>
                <c:pt idx="20">
                  <c:v>省份21</c:v>
                </c:pt>
                <c:pt idx="21">
                  <c:v>省份22</c:v>
                </c:pt>
                <c:pt idx="22">
                  <c:v>省份23</c:v>
                </c:pt>
                <c:pt idx="23">
                  <c:v>省份24</c:v>
                </c:pt>
                <c:pt idx="24">
                  <c:v>省份25</c:v>
                </c:pt>
                <c:pt idx="25">
                  <c:v>省份26</c:v>
                </c:pt>
                <c:pt idx="26">
                  <c:v>省份27</c:v>
                </c:pt>
                <c:pt idx="27">
                  <c:v>省份28</c:v>
                </c:pt>
                <c:pt idx="28">
                  <c:v>省份29</c:v>
                </c:pt>
                <c:pt idx="29">
                  <c:v>省份30</c:v>
                </c:pt>
                <c:pt idx="30">
                  <c:v>省份31</c:v>
                </c:pt>
              </c:strCache>
            </c:strRef>
          </c:cat>
          <c:val>
            <c:numRef>
              <c:f>Sheet1!$B$2:$B$32</c:f>
              <c:numCache>
                <c:formatCode>0.0%</c:formatCode>
                <c:ptCount val="31"/>
                <c:pt idx="0">
                  <c:v>0.05</c:v>
                </c:pt>
                <c:pt idx="1">
                  <c:v>0.05</c:v>
                </c:pt>
                <c:pt idx="2">
                  <c:v>0.05</c:v>
                </c:pt>
                <c:pt idx="3">
                  <c:v>0.05</c:v>
                </c:pt>
                <c:pt idx="4">
                  <c:v>0.05</c:v>
                </c:pt>
                <c:pt idx="5">
                  <c:v>0.05</c:v>
                </c:pt>
                <c:pt idx="6">
                  <c:v>0.05</c:v>
                </c:pt>
                <c:pt idx="7">
                  <c:v>0.05</c:v>
                </c:pt>
                <c:pt idx="8">
                  <c:v>0.05</c:v>
                </c:pt>
                <c:pt idx="9">
                  <c:v>0.05</c:v>
                </c:pt>
                <c:pt idx="10">
                  <c:v>0.05</c:v>
                </c:pt>
                <c:pt idx="11">
                  <c:v>0.05</c:v>
                </c:pt>
                <c:pt idx="12">
                  <c:v>0.05</c:v>
                </c:pt>
                <c:pt idx="13">
                  <c:v>0.05</c:v>
                </c:pt>
                <c:pt idx="14">
                  <c:v>0.05</c:v>
                </c:pt>
                <c:pt idx="15">
                  <c:v>0.05</c:v>
                </c:pt>
                <c:pt idx="16">
                  <c:v>0.05</c:v>
                </c:pt>
                <c:pt idx="17">
                  <c:v>0.05</c:v>
                </c:pt>
                <c:pt idx="18">
                  <c:v>0.05</c:v>
                </c:pt>
                <c:pt idx="19">
                  <c:v>0.05</c:v>
                </c:pt>
                <c:pt idx="20">
                  <c:v>0.05</c:v>
                </c:pt>
                <c:pt idx="21">
                  <c:v>0.05</c:v>
                </c:pt>
                <c:pt idx="22">
                  <c:v>0.05</c:v>
                </c:pt>
                <c:pt idx="23">
                  <c:v>0.05</c:v>
                </c:pt>
                <c:pt idx="24">
                  <c:v>0.05</c:v>
                </c:pt>
                <c:pt idx="25">
                  <c:v>0.05</c:v>
                </c:pt>
                <c:pt idx="26">
                  <c:v>0.05</c:v>
                </c:pt>
                <c:pt idx="27">
                  <c:v>0.05</c:v>
                </c:pt>
                <c:pt idx="28">
                  <c:v>0.05</c:v>
                </c:pt>
                <c:pt idx="29">
                  <c:v>0.05</c:v>
                </c:pt>
                <c:pt idx="30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078-402F-92A6-308A76459F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522740528"/>
        <c:axId val="522741312"/>
      </c:barChart>
      <c:lineChart>
        <c:grouping val="standard"/>
        <c:varyColors val="0"/>
        <c:ser>
          <c:idx val="4"/>
          <c:order val="4"/>
          <c:tx>
            <c:strRef>
              <c:f>Sheet1!$F$1</c:f>
              <c:strCache>
                <c:ptCount val="1"/>
                <c:pt idx="0">
                  <c:v>EV_Int Prod</c:v>
                </c:pt>
              </c:strCache>
            </c:strRef>
          </c:tx>
          <c:spPr>
            <a:ln w="19050">
              <a:solidFill>
                <a:srgbClr val="C00000"/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rgbClr val="C00000"/>
                </a:solidFill>
              </a:ln>
            </c:spPr>
          </c:marker>
          <c:cat>
            <c:strRef>
              <c:f>Sheet1!$A$2:$A$32</c:f>
              <c:strCache>
                <c:ptCount val="31"/>
                <c:pt idx="0">
                  <c:v>省份1</c:v>
                </c:pt>
                <c:pt idx="1">
                  <c:v>省份2</c:v>
                </c:pt>
                <c:pt idx="2">
                  <c:v>省份3</c:v>
                </c:pt>
                <c:pt idx="3">
                  <c:v>省份4</c:v>
                </c:pt>
                <c:pt idx="4">
                  <c:v>省份5</c:v>
                </c:pt>
                <c:pt idx="5">
                  <c:v>省份6</c:v>
                </c:pt>
                <c:pt idx="6">
                  <c:v>省份7</c:v>
                </c:pt>
                <c:pt idx="7">
                  <c:v>省份8</c:v>
                </c:pt>
                <c:pt idx="8">
                  <c:v>省份9</c:v>
                </c:pt>
                <c:pt idx="9">
                  <c:v>省份10</c:v>
                </c:pt>
                <c:pt idx="10">
                  <c:v>省份11</c:v>
                </c:pt>
                <c:pt idx="11">
                  <c:v>省份12</c:v>
                </c:pt>
                <c:pt idx="12">
                  <c:v>省份13</c:v>
                </c:pt>
                <c:pt idx="13">
                  <c:v>省份14</c:v>
                </c:pt>
                <c:pt idx="14">
                  <c:v>省份15</c:v>
                </c:pt>
                <c:pt idx="15">
                  <c:v>省份16</c:v>
                </c:pt>
                <c:pt idx="16">
                  <c:v>省份17</c:v>
                </c:pt>
                <c:pt idx="17">
                  <c:v>省份18</c:v>
                </c:pt>
                <c:pt idx="18">
                  <c:v>省份19</c:v>
                </c:pt>
                <c:pt idx="19">
                  <c:v>省份20</c:v>
                </c:pt>
                <c:pt idx="20">
                  <c:v>省份21</c:v>
                </c:pt>
                <c:pt idx="21">
                  <c:v>省份22</c:v>
                </c:pt>
                <c:pt idx="22">
                  <c:v>省份23</c:v>
                </c:pt>
                <c:pt idx="23">
                  <c:v>省份24</c:v>
                </c:pt>
                <c:pt idx="24">
                  <c:v>省份25</c:v>
                </c:pt>
                <c:pt idx="25">
                  <c:v>省份26</c:v>
                </c:pt>
                <c:pt idx="26">
                  <c:v>省份27</c:v>
                </c:pt>
                <c:pt idx="27">
                  <c:v>省份28</c:v>
                </c:pt>
                <c:pt idx="28">
                  <c:v>省份29</c:v>
                </c:pt>
                <c:pt idx="29">
                  <c:v>省份30</c:v>
                </c:pt>
                <c:pt idx="30">
                  <c:v>省份31</c:v>
                </c:pt>
              </c:strCache>
            </c:strRef>
          </c:cat>
          <c:val>
            <c:numRef>
              <c:f>Sheet1!$F$2:$F$32</c:f>
              <c:numCache>
                <c:formatCode>0</c:formatCode>
                <c:ptCount val="31"/>
                <c:pt idx="0">
                  <c:v>100</c:v>
                </c:pt>
                <c:pt idx="1">
                  <c:v>101</c:v>
                </c:pt>
                <c:pt idx="2">
                  <c:v>102</c:v>
                </c:pt>
                <c:pt idx="3">
                  <c:v>103</c:v>
                </c:pt>
                <c:pt idx="4">
                  <c:v>104</c:v>
                </c:pt>
                <c:pt idx="5">
                  <c:v>100</c:v>
                </c:pt>
                <c:pt idx="6">
                  <c:v>101</c:v>
                </c:pt>
                <c:pt idx="7">
                  <c:v>102</c:v>
                </c:pt>
                <c:pt idx="8">
                  <c:v>103</c:v>
                </c:pt>
                <c:pt idx="9">
                  <c:v>104</c:v>
                </c:pt>
                <c:pt idx="10">
                  <c:v>100</c:v>
                </c:pt>
                <c:pt idx="11">
                  <c:v>101</c:v>
                </c:pt>
                <c:pt idx="12">
                  <c:v>102</c:v>
                </c:pt>
                <c:pt idx="13">
                  <c:v>103</c:v>
                </c:pt>
                <c:pt idx="14">
                  <c:v>104</c:v>
                </c:pt>
                <c:pt idx="15">
                  <c:v>100</c:v>
                </c:pt>
                <c:pt idx="16">
                  <c:v>101</c:v>
                </c:pt>
                <c:pt idx="17">
                  <c:v>102</c:v>
                </c:pt>
                <c:pt idx="18">
                  <c:v>103</c:v>
                </c:pt>
                <c:pt idx="19">
                  <c:v>104</c:v>
                </c:pt>
                <c:pt idx="20">
                  <c:v>100</c:v>
                </c:pt>
                <c:pt idx="21">
                  <c:v>101</c:v>
                </c:pt>
                <c:pt idx="22">
                  <c:v>102</c:v>
                </c:pt>
                <c:pt idx="23">
                  <c:v>103</c:v>
                </c:pt>
                <c:pt idx="24">
                  <c:v>104</c:v>
                </c:pt>
                <c:pt idx="25">
                  <c:v>100</c:v>
                </c:pt>
                <c:pt idx="26">
                  <c:v>101</c:v>
                </c:pt>
                <c:pt idx="27">
                  <c:v>102</c:v>
                </c:pt>
                <c:pt idx="28">
                  <c:v>103</c:v>
                </c:pt>
                <c:pt idx="29">
                  <c:v>104</c:v>
                </c:pt>
                <c:pt idx="30">
                  <c:v>1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078-402F-92A6-308A76459F3E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EV_Competitor1</c:v>
                </c:pt>
              </c:strCache>
            </c:strRef>
          </c:tx>
          <c:spPr>
            <a:ln w="19050">
              <a:solidFill>
                <a:schemeClr val="accent1">
                  <a:lumMod val="75000"/>
                </a:schemeClr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1">
                    <a:lumMod val="75000"/>
                  </a:schemeClr>
                </a:solidFill>
              </a:ln>
            </c:spPr>
          </c:marker>
          <c:cat>
            <c:strRef>
              <c:f>Sheet1!$A$2:$A$32</c:f>
              <c:strCache>
                <c:ptCount val="31"/>
                <c:pt idx="0">
                  <c:v>省份1</c:v>
                </c:pt>
                <c:pt idx="1">
                  <c:v>省份2</c:v>
                </c:pt>
                <c:pt idx="2">
                  <c:v>省份3</c:v>
                </c:pt>
                <c:pt idx="3">
                  <c:v>省份4</c:v>
                </c:pt>
                <c:pt idx="4">
                  <c:v>省份5</c:v>
                </c:pt>
                <c:pt idx="5">
                  <c:v>省份6</c:v>
                </c:pt>
                <c:pt idx="6">
                  <c:v>省份7</c:v>
                </c:pt>
                <c:pt idx="7">
                  <c:v>省份8</c:v>
                </c:pt>
                <c:pt idx="8">
                  <c:v>省份9</c:v>
                </c:pt>
                <c:pt idx="9">
                  <c:v>省份10</c:v>
                </c:pt>
                <c:pt idx="10">
                  <c:v>省份11</c:v>
                </c:pt>
                <c:pt idx="11">
                  <c:v>省份12</c:v>
                </c:pt>
                <c:pt idx="12">
                  <c:v>省份13</c:v>
                </c:pt>
                <c:pt idx="13">
                  <c:v>省份14</c:v>
                </c:pt>
                <c:pt idx="14">
                  <c:v>省份15</c:v>
                </c:pt>
                <c:pt idx="15">
                  <c:v>省份16</c:v>
                </c:pt>
                <c:pt idx="16">
                  <c:v>省份17</c:v>
                </c:pt>
                <c:pt idx="17">
                  <c:v>省份18</c:v>
                </c:pt>
                <c:pt idx="18">
                  <c:v>省份19</c:v>
                </c:pt>
                <c:pt idx="19">
                  <c:v>省份20</c:v>
                </c:pt>
                <c:pt idx="20">
                  <c:v>省份21</c:v>
                </c:pt>
                <c:pt idx="21">
                  <c:v>省份22</c:v>
                </c:pt>
                <c:pt idx="22">
                  <c:v>省份23</c:v>
                </c:pt>
                <c:pt idx="23">
                  <c:v>省份24</c:v>
                </c:pt>
                <c:pt idx="24">
                  <c:v>省份25</c:v>
                </c:pt>
                <c:pt idx="25">
                  <c:v>省份26</c:v>
                </c:pt>
                <c:pt idx="26">
                  <c:v>省份27</c:v>
                </c:pt>
                <c:pt idx="27">
                  <c:v>省份28</c:v>
                </c:pt>
                <c:pt idx="28">
                  <c:v>省份29</c:v>
                </c:pt>
                <c:pt idx="29">
                  <c:v>省份30</c:v>
                </c:pt>
                <c:pt idx="30">
                  <c:v>省份31</c:v>
                </c:pt>
              </c:strCache>
            </c:strRef>
          </c:cat>
          <c:val>
            <c:numRef>
              <c:f>Sheet1!$G$2:$G$32</c:f>
              <c:numCache>
                <c:formatCode>0</c:formatCode>
                <c:ptCount val="31"/>
                <c:pt idx="0">
                  <c:v>95</c:v>
                </c:pt>
                <c:pt idx="1">
                  <c:v>96</c:v>
                </c:pt>
                <c:pt idx="2">
                  <c:v>97</c:v>
                </c:pt>
                <c:pt idx="3">
                  <c:v>98</c:v>
                </c:pt>
                <c:pt idx="4">
                  <c:v>99</c:v>
                </c:pt>
                <c:pt idx="5">
                  <c:v>95</c:v>
                </c:pt>
                <c:pt idx="6">
                  <c:v>96</c:v>
                </c:pt>
                <c:pt idx="7">
                  <c:v>97</c:v>
                </c:pt>
                <c:pt idx="8">
                  <c:v>98</c:v>
                </c:pt>
                <c:pt idx="9">
                  <c:v>99</c:v>
                </c:pt>
                <c:pt idx="10">
                  <c:v>95</c:v>
                </c:pt>
                <c:pt idx="11">
                  <c:v>96</c:v>
                </c:pt>
                <c:pt idx="12">
                  <c:v>97</c:v>
                </c:pt>
                <c:pt idx="13">
                  <c:v>98</c:v>
                </c:pt>
                <c:pt idx="14">
                  <c:v>99</c:v>
                </c:pt>
                <c:pt idx="15">
                  <c:v>95</c:v>
                </c:pt>
                <c:pt idx="16">
                  <c:v>96</c:v>
                </c:pt>
                <c:pt idx="17">
                  <c:v>97</c:v>
                </c:pt>
                <c:pt idx="18">
                  <c:v>98</c:v>
                </c:pt>
                <c:pt idx="19">
                  <c:v>99</c:v>
                </c:pt>
                <c:pt idx="20">
                  <c:v>95</c:v>
                </c:pt>
                <c:pt idx="21">
                  <c:v>96</c:v>
                </c:pt>
                <c:pt idx="22">
                  <c:v>97</c:v>
                </c:pt>
                <c:pt idx="23">
                  <c:v>98</c:v>
                </c:pt>
                <c:pt idx="24">
                  <c:v>99</c:v>
                </c:pt>
                <c:pt idx="25">
                  <c:v>95</c:v>
                </c:pt>
                <c:pt idx="26">
                  <c:v>96</c:v>
                </c:pt>
                <c:pt idx="27">
                  <c:v>97</c:v>
                </c:pt>
                <c:pt idx="28">
                  <c:v>98</c:v>
                </c:pt>
                <c:pt idx="29">
                  <c:v>99</c:v>
                </c:pt>
                <c:pt idx="30">
                  <c:v>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078-402F-92A6-308A76459F3E}"/>
            </c:ext>
          </c:extLst>
        </c:ser>
        <c:ser>
          <c:idx val="7"/>
          <c:order val="6"/>
          <c:tx>
            <c:strRef>
              <c:f>Sheet1!$H$1</c:f>
              <c:strCache>
                <c:ptCount val="1"/>
                <c:pt idx="0">
                  <c:v>EV_Competitor2</c:v>
                </c:pt>
              </c:strCache>
            </c:strRef>
          </c:tx>
          <c:spPr>
            <a:ln w="19050">
              <a:solidFill>
                <a:schemeClr val="accent2">
                  <a:lumMod val="75000"/>
                </a:schemeClr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2">
                    <a:lumMod val="75000"/>
                  </a:schemeClr>
                </a:solidFill>
              </a:ln>
            </c:spPr>
          </c:marker>
          <c:cat>
            <c:strRef>
              <c:f>Sheet1!$A$2:$A$32</c:f>
              <c:strCache>
                <c:ptCount val="31"/>
                <c:pt idx="0">
                  <c:v>省份1</c:v>
                </c:pt>
                <c:pt idx="1">
                  <c:v>省份2</c:v>
                </c:pt>
                <c:pt idx="2">
                  <c:v>省份3</c:v>
                </c:pt>
                <c:pt idx="3">
                  <c:v>省份4</c:v>
                </c:pt>
                <c:pt idx="4">
                  <c:v>省份5</c:v>
                </c:pt>
                <c:pt idx="5">
                  <c:v>省份6</c:v>
                </c:pt>
                <c:pt idx="6">
                  <c:v>省份7</c:v>
                </c:pt>
                <c:pt idx="7">
                  <c:v>省份8</c:v>
                </c:pt>
                <c:pt idx="8">
                  <c:v>省份9</c:v>
                </c:pt>
                <c:pt idx="9">
                  <c:v>省份10</c:v>
                </c:pt>
                <c:pt idx="10">
                  <c:v>省份11</c:v>
                </c:pt>
                <c:pt idx="11">
                  <c:v>省份12</c:v>
                </c:pt>
                <c:pt idx="12">
                  <c:v>省份13</c:v>
                </c:pt>
                <c:pt idx="13">
                  <c:v>省份14</c:v>
                </c:pt>
                <c:pt idx="14">
                  <c:v>省份15</c:v>
                </c:pt>
                <c:pt idx="15">
                  <c:v>省份16</c:v>
                </c:pt>
                <c:pt idx="16">
                  <c:v>省份17</c:v>
                </c:pt>
                <c:pt idx="17">
                  <c:v>省份18</c:v>
                </c:pt>
                <c:pt idx="18">
                  <c:v>省份19</c:v>
                </c:pt>
                <c:pt idx="19">
                  <c:v>省份20</c:v>
                </c:pt>
                <c:pt idx="20">
                  <c:v>省份21</c:v>
                </c:pt>
                <c:pt idx="21">
                  <c:v>省份22</c:v>
                </c:pt>
                <c:pt idx="22">
                  <c:v>省份23</c:v>
                </c:pt>
                <c:pt idx="23">
                  <c:v>省份24</c:v>
                </c:pt>
                <c:pt idx="24">
                  <c:v>省份25</c:v>
                </c:pt>
                <c:pt idx="25">
                  <c:v>省份26</c:v>
                </c:pt>
                <c:pt idx="26">
                  <c:v>省份27</c:v>
                </c:pt>
                <c:pt idx="27">
                  <c:v>省份28</c:v>
                </c:pt>
                <c:pt idx="28">
                  <c:v>省份29</c:v>
                </c:pt>
                <c:pt idx="29">
                  <c:v>省份30</c:v>
                </c:pt>
                <c:pt idx="30">
                  <c:v>省份31</c:v>
                </c:pt>
              </c:strCache>
            </c:strRef>
          </c:cat>
          <c:val>
            <c:numRef>
              <c:f>Sheet1!$H$2:$H$32</c:f>
              <c:numCache>
                <c:formatCode>0</c:formatCode>
                <c:ptCount val="31"/>
                <c:pt idx="0">
                  <c:v>90</c:v>
                </c:pt>
                <c:pt idx="1">
                  <c:v>90</c:v>
                </c:pt>
                <c:pt idx="2">
                  <c:v>90</c:v>
                </c:pt>
                <c:pt idx="3">
                  <c:v>90</c:v>
                </c:pt>
                <c:pt idx="4">
                  <c:v>90</c:v>
                </c:pt>
                <c:pt idx="5">
                  <c:v>90</c:v>
                </c:pt>
                <c:pt idx="6">
                  <c:v>90</c:v>
                </c:pt>
                <c:pt idx="7">
                  <c:v>90</c:v>
                </c:pt>
                <c:pt idx="8">
                  <c:v>90</c:v>
                </c:pt>
                <c:pt idx="9">
                  <c:v>90</c:v>
                </c:pt>
                <c:pt idx="10">
                  <c:v>90</c:v>
                </c:pt>
                <c:pt idx="11">
                  <c:v>90</c:v>
                </c:pt>
                <c:pt idx="12">
                  <c:v>90</c:v>
                </c:pt>
                <c:pt idx="13">
                  <c:v>90</c:v>
                </c:pt>
                <c:pt idx="14">
                  <c:v>90</c:v>
                </c:pt>
                <c:pt idx="15">
                  <c:v>90</c:v>
                </c:pt>
                <c:pt idx="16">
                  <c:v>90</c:v>
                </c:pt>
                <c:pt idx="17">
                  <c:v>90</c:v>
                </c:pt>
                <c:pt idx="18">
                  <c:v>90</c:v>
                </c:pt>
                <c:pt idx="19">
                  <c:v>90</c:v>
                </c:pt>
                <c:pt idx="20">
                  <c:v>90</c:v>
                </c:pt>
                <c:pt idx="21">
                  <c:v>90</c:v>
                </c:pt>
                <c:pt idx="22">
                  <c:v>90</c:v>
                </c:pt>
                <c:pt idx="23">
                  <c:v>90</c:v>
                </c:pt>
                <c:pt idx="24">
                  <c:v>90</c:v>
                </c:pt>
                <c:pt idx="25">
                  <c:v>90</c:v>
                </c:pt>
                <c:pt idx="26">
                  <c:v>90</c:v>
                </c:pt>
                <c:pt idx="27">
                  <c:v>90</c:v>
                </c:pt>
                <c:pt idx="28">
                  <c:v>90</c:v>
                </c:pt>
                <c:pt idx="29">
                  <c:v>90</c:v>
                </c:pt>
                <c:pt idx="30">
                  <c:v>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A078-402F-92A6-308A76459F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22741704"/>
        <c:axId val="522742096"/>
      </c:lineChart>
      <c:catAx>
        <c:axId val="5227405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522741312"/>
        <c:crosses val="autoZero"/>
        <c:auto val="1"/>
        <c:lblAlgn val="ctr"/>
        <c:lblOffset val="100"/>
        <c:noMultiLvlLbl val="0"/>
      </c:catAx>
      <c:valAx>
        <c:axId val="522741312"/>
        <c:scaling>
          <c:orientation val="minMax"/>
          <c:max val="1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altLang="zh-CN" dirty="0"/>
                  <a:t>Share</a:t>
                </a:r>
                <a:endParaRPr lang="zh-CN" dirty="0"/>
              </a:p>
            </c:rich>
          </c:tx>
          <c:layout>
            <c:manualLayout>
              <c:xMode val="edge"/>
              <c:yMode val="edge"/>
              <c:x val="9.3689986760504509E-2"/>
              <c:y val="3.5400272566550428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522740528"/>
        <c:crosses val="autoZero"/>
        <c:crossBetween val="between"/>
      </c:valAx>
      <c:valAx>
        <c:axId val="522742096"/>
        <c:scaling>
          <c:orientation val="minMax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altLang="zh-CN" dirty="0"/>
                  <a:t>EV</a:t>
                </a:r>
              </a:p>
            </c:rich>
          </c:tx>
          <c:layout>
            <c:manualLayout>
              <c:xMode val="edge"/>
              <c:yMode val="edge"/>
              <c:x val="0.97336863064530732"/>
              <c:y val="3.6121772258864621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#,##0_);[Red]\(#,##0\)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522741704"/>
        <c:crosses val="max"/>
        <c:crossBetween val="between"/>
      </c:valAx>
      <c:catAx>
        <c:axId val="5227417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22742096"/>
        <c:crosses val="autoZero"/>
        <c:auto val="1"/>
        <c:lblAlgn val="ctr"/>
        <c:lblOffset val="100"/>
        <c:noMultiLvlLbl val="0"/>
      </c:cat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>
          <a:latin typeface="+mj-lt"/>
        </a:defRPr>
      </a:pPr>
      <a:endParaRPr lang="zh-CN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297921698165318E-2"/>
          <c:y val="1.7235319104469106E-2"/>
          <c:w val="0.66972889720599349"/>
          <c:h val="0.8209701584699379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6</c:f>
              <c:strCache>
                <c:ptCount val="1"/>
                <c:pt idx="0">
                  <c:v>Tier 5</c:v>
                </c:pt>
              </c:strCache>
            </c:strRef>
          </c:tx>
          <c:spPr>
            <a:solidFill>
              <a:srgbClr val="FBEEC9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36E45918-C8E8-430F-BE3B-638B2142823E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3FE6-4007-9424-00742865B9B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917EF68E-1E21-4DCB-BEED-EE8C01970412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0-8B1B-44E3-96B6-27E5B8040DB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B48E6402-B3C8-442B-B7B5-79E58A50AD3F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8B1B-44E3-96B6-27E5B8040DB3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9EA72158-33DA-41F9-B4D5-529F028C36F9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8B1B-44E3-96B6-27E5B8040DB3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E67CD1FC-2BB1-4B8C-8D28-B64EA5632C7D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8B1B-44E3-96B6-27E5B8040DB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5M04
MAT</c:v>
                </c:pt>
                <c:pt idx="1">
                  <c:v>16M04
MAT</c:v>
                </c:pt>
                <c:pt idx="2">
                  <c:v>17M04
MAT</c:v>
                </c:pt>
                <c:pt idx="3">
                  <c:v>18M04
MAT</c:v>
                </c:pt>
                <c:pt idx="4">
                  <c:v>19M04
MAT</c:v>
                </c:pt>
              </c:strCache>
            </c:strRef>
          </c:cat>
          <c:val>
            <c:numRef>
              <c:f>Sheet1!$B$6:$F$6</c:f>
              <c:numCache>
                <c:formatCode>General</c:formatCode>
                <c:ptCount val="5"/>
                <c:pt idx="0">
                  <c:v>42.4</c:v>
                </c:pt>
                <c:pt idx="1">
                  <c:v>42.4</c:v>
                </c:pt>
                <c:pt idx="2">
                  <c:v>66.099999999999994</c:v>
                </c:pt>
                <c:pt idx="3">
                  <c:v>42.4</c:v>
                </c:pt>
                <c:pt idx="4">
                  <c:v>66.099999999999994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6:$K$6</c15:f>
                <c15:dlblRangeCache>
                  <c:ptCount val="5"/>
                  <c:pt idx="0">
                    <c:v>2%</c:v>
                  </c:pt>
                  <c:pt idx="1">
                    <c:v>1%</c:v>
                  </c:pt>
                  <c:pt idx="2">
                    <c:v>2%</c:v>
                  </c:pt>
                  <c:pt idx="3">
                    <c:v>1%</c:v>
                  </c:pt>
                  <c:pt idx="4">
                    <c:v>2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0-4F4B-4646-B5D6-96A2879FDD66}"/>
            </c:ext>
          </c:extLst>
        </c:ser>
        <c:ser>
          <c:idx val="1"/>
          <c:order val="1"/>
          <c:tx>
            <c:strRef>
              <c:f>Sheet1!$A$5</c:f>
              <c:strCache>
                <c:ptCount val="1"/>
                <c:pt idx="0">
                  <c:v>Tier 4</c:v>
                </c:pt>
              </c:strCache>
            </c:strRef>
          </c:tx>
          <c:spPr>
            <a:solidFill>
              <a:srgbClr val="FFC42F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FFEB711E-86D5-4609-B206-FE52C633144F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3FE6-4007-9424-00742865B9B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B8FB00ED-9647-43AB-82E3-C157F1261D7B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8B1B-44E3-96B6-27E5B8040DB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18EDEF7D-5B2F-46D1-BEB0-8E0637E1940C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8B1B-44E3-96B6-27E5B8040DB3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1FEC1ACD-3C86-4A6C-98CB-D395CED35825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8B1B-44E3-96B6-27E5B8040DB3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07FDFD46-D764-410B-9C42-3910A9E7FA7B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8B1B-44E3-96B6-27E5B8040DB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5M04
MAT</c:v>
                </c:pt>
                <c:pt idx="1">
                  <c:v>16M04
MAT</c:v>
                </c:pt>
                <c:pt idx="2">
                  <c:v>17M04
MAT</c:v>
                </c:pt>
                <c:pt idx="3">
                  <c:v>18M04
MAT</c:v>
                </c:pt>
                <c:pt idx="4">
                  <c:v>19M04
MAT</c:v>
                </c:pt>
              </c:strCache>
            </c:strRef>
          </c:cat>
          <c:val>
            <c:numRef>
              <c:f>Sheet1!$B$5:$F$5</c:f>
              <c:numCache>
                <c:formatCode>General</c:formatCode>
                <c:ptCount val="5"/>
                <c:pt idx="0">
                  <c:v>151.5</c:v>
                </c:pt>
                <c:pt idx="1">
                  <c:v>151.5</c:v>
                </c:pt>
                <c:pt idx="2">
                  <c:v>163.80000000000001</c:v>
                </c:pt>
                <c:pt idx="3">
                  <c:v>151.5</c:v>
                </c:pt>
                <c:pt idx="4">
                  <c:v>163.80000000000001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5:$K$5</c15:f>
                <c15:dlblRangeCache>
                  <c:ptCount val="5"/>
                  <c:pt idx="0">
                    <c:v>5%</c:v>
                  </c:pt>
                  <c:pt idx="1">
                    <c:v>5%</c:v>
                  </c:pt>
                  <c:pt idx="2">
                    <c:v>5%</c:v>
                  </c:pt>
                  <c:pt idx="3">
                    <c:v>5%</c:v>
                  </c:pt>
                  <c:pt idx="4">
                    <c:v>5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1-4F4B-4646-B5D6-96A2879FDD66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Tier 3</c:v>
                </c:pt>
              </c:strCache>
            </c:strRef>
          </c:tx>
          <c:spPr>
            <a:solidFill>
              <a:srgbClr val="F0A22E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B96A7BBC-179E-49F6-BA99-7C0066161A45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3FE6-4007-9424-00742865B9B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6C587137-74B8-41CA-B0BF-AE2D4B2DCD2F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8B1B-44E3-96B6-27E5B8040DB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C1C68D7A-BC11-4F83-A667-CD64AD69FB3F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8B1B-44E3-96B6-27E5B8040DB3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6C3F2E98-733C-418D-9D8F-D774730C76C5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8B1B-44E3-96B6-27E5B8040DB3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E30A893D-B4AA-4CA5-89E2-08D1C56A652D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8B1B-44E3-96B6-27E5B8040DB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5M04
MAT</c:v>
                </c:pt>
                <c:pt idx="1">
                  <c:v>16M04
MAT</c:v>
                </c:pt>
                <c:pt idx="2">
                  <c:v>17M04
MAT</c:v>
                </c:pt>
                <c:pt idx="3">
                  <c:v>18M04
MAT</c:v>
                </c:pt>
                <c:pt idx="4">
                  <c:v>19M04
MAT</c:v>
                </c:pt>
              </c:strCache>
            </c:strRef>
          </c:cat>
          <c:val>
            <c:numRef>
              <c:f>Sheet1!$B$4:$F$4</c:f>
              <c:numCache>
                <c:formatCode>General</c:formatCode>
                <c:ptCount val="5"/>
                <c:pt idx="0">
                  <c:v>563.6</c:v>
                </c:pt>
                <c:pt idx="1">
                  <c:v>563.6</c:v>
                </c:pt>
                <c:pt idx="2">
                  <c:v>653.79999999999995</c:v>
                </c:pt>
                <c:pt idx="3">
                  <c:v>563.6</c:v>
                </c:pt>
                <c:pt idx="4">
                  <c:v>653.79999999999995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4:$K$4</c15:f>
                <c15:dlblRangeCache>
                  <c:ptCount val="5"/>
                  <c:pt idx="0">
                    <c:v>20%</c:v>
                  </c:pt>
                  <c:pt idx="1">
                    <c:v>18%</c:v>
                  </c:pt>
                  <c:pt idx="2">
                    <c:v>18%</c:v>
                  </c:pt>
                  <c:pt idx="3">
                    <c:v>18%</c:v>
                  </c:pt>
                  <c:pt idx="4">
                    <c:v>18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3-4F4B-4646-B5D6-96A2879FDD66}"/>
            </c:ext>
          </c:extLst>
        </c:ser>
        <c:ser>
          <c:idx val="3"/>
          <c:order val="3"/>
          <c:tx>
            <c:strRef>
              <c:f>Sheet1!$A$3</c:f>
              <c:strCache>
                <c:ptCount val="1"/>
                <c:pt idx="0">
                  <c:v>Tier 2</c:v>
                </c:pt>
              </c:strCache>
            </c:strRef>
          </c:tx>
          <c:spPr>
            <a:solidFill>
              <a:srgbClr val="C3986D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108E55CC-576A-4BEF-8135-492F2B0F422D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3FE6-4007-9424-00742865B9B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E350F547-331F-45AE-9D05-30922F9E744B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8B1B-44E3-96B6-27E5B8040DB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4A10663F-83A5-41DE-AE00-0F8A7B3EE742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8B1B-44E3-96B6-27E5B8040DB3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1306C323-A0AA-4812-8FE5-32A6C71888DE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8B1B-44E3-96B6-27E5B8040DB3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48507B98-D727-4119-8DA3-18C0EB4647E1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8B1B-44E3-96B6-27E5B8040DB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5M04
MAT</c:v>
                </c:pt>
                <c:pt idx="1">
                  <c:v>16M04
MAT</c:v>
                </c:pt>
                <c:pt idx="2">
                  <c:v>17M04
MAT</c:v>
                </c:pt>
                <c:pt idx="3">
                  <c:v>18M04
MAT</c:v>
                </c:pt>
                <c:pt idx="4">
                  <c:v>19M04
MAT</c:v>
                </c:pt>
              </c:strCache>
            </c:strRef>
          </c:cat>
          <c:val>
            <c:numRef>
              <c:f>Sheet1!$B$3:$F$3</c:f>
              <c:numCache>
                <c:formatCode>General</c:formatCode>
                <c:ptCount val="5"/>
                <c:pt idx="0">
                  <c:v>753.8</c:v>
                </c:pt>
                <c:pt idx="1">
                  <c:v>753.8</c:v>
                </c:pt>
                <c:pt idx="2">
                  <c:v>842</c:v>
                </c:pt>
                <c:pt idx="3">
                  <c:v>753.8</c:v>
                </c:pt>
                <c:pt idx="4">
                  <c:v>842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3:$K$3</c15:f>
                <c15:dlblRangeCache>
                  <c:ptCount val="5"/>
                  <c:pt idx="0">
                    <c:v>26%</c:v>
                  </c:pt>
                  <c:pt idx="1">
                    <c:v>24%</c:v>
                  </c:pt>
                  <c:pt idx="2">
                    <c:v>24%</c:v>
                  </c:pt>
                  <c:pt idx="3">
                    <c:v>24%</c:v>
                  </c:pt>
                  <c:pt idx="4">
                    <c:v>24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4-4F4B-4646-B5D6-96A2879FDD66}"/>
            </c:ext>
          </c:extLst>
        </c:ser>
        <c:ser>
          <c:idx val="4"/>
          <c:order val="4"/>
          <c:tx>
            <c:strRef>
              <c:f>Sheet1!$A$2</c:f>
              <c:strCache>
                <c:ptCount val="1"/>
                <c:pt idx="0">
                  <c:v>Tier 1</c:v>
                </c:pt>
              </c:strCache>
            </c:strRef>
          </c:tx>
          <c:spPr>
            <a:solidFill>
              <a:srgbClr val="A5644E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89CAEF22-1D36-48C8-AE3A-B153393925CA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8B1B-44E3-96B6-27E5B8040DB3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839546F5-3CF6-48A8-984A-DCCEE91F23A7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8B1B-44E3-96B6-27E5B8040DB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71E691EC-E09B-492D-9AB9-82AF26B90813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8B1B-44E3-96B6-27E5B8040DB3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3F8474EA-B3B6-40D1-924E-06F1021AEDB9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8B1B-44E3-96B6-27E5B8040DB3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36CA5676-C7FC-416E-B5F7-253A180428EA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8B1B-44E3-96B6-27E5B8040DB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5M04
MAT</c:v>
                </c:pt>
                <c:pt idx="1">
                  <c:v>16M04
MAT</c:v>
                </c:pt>
                <c:pt idx="2">
                  <c:v>17M04
MAT</c:v>
                </c:pt>
                <c:pt idx="3">
                  <c:v>18M04
MAT</c:v>
                </c:pt>
                <c:pt idx="4">
                  <c:v>19M04
MAT</c:v>
                </c:pt>
              </c:strCache>
            </c:strRef>
          </c:cat>
          <c:val>
            <c:numRef>
              <c:f>Sheet1!$B$2:$F$2</c:f>
              <c:numCache>
                <c:formatCode>General</c:formatCode>
                <c:ptCount val="5"/>
                <c:pt idx="0">
                  <c:v>1679.1</c:v>
                </c:pt>
                <c:pt idx="1">
                  <c:v>1679.1</c:v>
                </c:pt>
                <c:pt idx="2">
                  <c:v>1809.8</c:v>
                </c:pt>
                <c:pt idx="3">
                  <c:v>1679.1</c:v>
                </c:pt>
                <c:pt idx="4">
                  <c:v>1809.8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2:$K$2</c15:f>
                <c15:dlblRangeCache>
                  <c:ptCount val="5"/>
                  <c:pt idx="0">
                    <c:v>57%</c:v>
                  </c:pt>
                  <c:pt idx="1">
                    <c:v>53%</c:v>
                  </c:pt>
                  <c:pt idx="2">
                    <c:v>51%</c:v>
                  </c:pt>
                  <c:pt idx="3">
                    <c:v>53%</c:v>
                  </c:pt>
                  <c:pt idx="4">
                    <c:v>51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5-4F4B-4646-B5D6-96A2879FDD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serLines>
          <c:spPr>
            <a:ln w="9525" cap="flat" cmpd="sng" algn="ctr">
              <a:solidFill>
                <a:schemeClr val="tx1">
                  <a:lumMod val="60000"/>
                  <a:lumOff val="40000"/>
                </a:schemeClr>
              </a:solidFill>
              <a:prstDash val="sysDash"/>
              <a:round/>
            </a:ln>
            <a:effectLst/>
          </c:spPr>
        </c:serLines>
        <c:axId val="521418536"/>
        <c:axId val="521416576"/>
      </c:barChart>
      <c:catAx>
        <c:axId val="5214185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1416576"/>
        <c:crosses val="autoZero"/>
        <c:auto val="1"/>
        <c:lblAlgn val="ctr"/>
        <c:lblOffset val="100"/>
        <c:noMultiLvlLbl val="0"/>
      </c:catAx>
      <c:valAx>
        <c:axId val="52141657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214185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5396710109512177"/>
          <c:y val="0.2828724491841399"/>
          <c:w val="0.17821399714114838"/>
          <c:h val="0.5563491009501664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chemeClr val="tx1"/>
          </a:solidFill>
          <a:latin typeface="+mn-lt"/>
        </a:defRPr>
      </a:pPr>
      <a:endParaRPr lang="zh-CN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297921698165318E-2"/>
          <c:y val="1.7235319104469106E-2"/>
          <c:w val="0.66972889720599349"/>
          <c:h val="0.8209701584699379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6</c:f>
              <c:strCache>
                <c:ptCount val="1"/>
                <c:pt idx="0">
                  <c:v>Tier 5</c:v>
                </c:pt>
              </c:strCache>
            </c:strRef>
          </c:tx>
          <c:spPr>
            <a:solidFill>
              <a:srgbClr val="FBEEC9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3887FF65-4365-4B09-8D2C-812BC94E44E8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3FE6-4007-9424-00742865B9B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0668BF2D-B3C1-4083-8E48-75CE784FD979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0-7810-420A-90ED-BD794E243A6F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E529F1EE-E05A-4F21-86BD-9C2B37BD1021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7810-420A-90ED-BD794E243A6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3A91B57E-55A3-4818-9E30-653C836CDD06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7810-420A-90ED-BD794E243A6F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6305D29D-95E9-41C3-80D1-ACAD23108636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7810-420A-90ED-BD794E243A6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5M04
MAT</c:v>
                </c:pt>
                <c:pt idx="1">
                  <c:v>16M04
MAT</c:v>
                </c:pt>
                <c:pt idx="2">
                  <c:v>17M04
MAT</c:v>
                </c:pt>
                <c:pt idx="3">
                  <c:v>18M04
MAT</c:v>
                </c:pt>
                <c:pt idx="4">
                  <c:v>19M04
MAT</c:v>
                </c:pt>
              </c:strCache>
            </c:strRef>
          </c:cat>
          <c:val>
            <c:numRef>
              <c:f>Sheet1!$B$6:$F$6</c:f>
              <c:numCache>
                <c:formatCode>General</c:formatCode>
                <c:ptCount val="5"/>
                <c:pt idx="0">
                  <c:v>42.4</c:v>
                </c:pt>
                <c:pt idx="1">
                  <c:v>42.4</c:v>
                </c:pt>
                <c:pt idx="2">
                  <c:v>66.099999999999994</c:v>
                </c:pt>
                <c:pt idx="3">
                  <c:v>42.4</c:v>
                </c:pt>
                <c:pt idx="4">
                  <c:v>66.099999999999994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6:$K$6</c15:f>
                <c15:dlblRangeCache>
                  <c:ptCount val="5"/>
                  <c:pt idx="0">
                    <c:v>2%</c:v>
                  </c:pt>
                  <c:pt idx="1">
                    <c:v>1%</c:v>
                  </c:pt>
                  <c:pt idx="2">
                    <c:v>2%</c:v>
                  </c:pt>
                  <c:pt idx="3">
                    <c:v>1%</c:v>
                  </c:pt>
                  <c:pt idx="4">
                    <c:v>2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0-4F4B-4646-B5D6-96A2879FDD66}"/>
            </c:ext>
          </c:extLst>
        </c:ser>
        <c:ser>
          <c:idx val="1"/>
          <c:order val="1"/>
          <c:tx>
            <c:strRef>
              <c:f>Sheet1!$A$5</c:f>
              <c:strCache>
                <c:ptCount val="1"/>
                <c:pt idx="0">
                  <c:v>Tier 4</c:v>
                </c:pt>
              </c:strCache>
            </c:strRef>
          </c:tx>
          <c:spPr>
            <a:solidFill>
              <a:srgbClr val="FFC42F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F80BED18-8FB1-4A6F-B7EF-2E6EB9EAF6CB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3FE6-4007-9424-00742865B9B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DBDD982E-8AD7-4028-9C9C-D67068771ED4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7810-420A-90ED-BD794E243A6F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EAC23E06-0000-4264-9B54-1D3DFCF16D92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7810-420A-90ED-BD794E243A6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700AB222-3DF6-466D-B353-1277CDC83782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7810-420A-90ED-BD794E243A6F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9DFE377C-9B3C-4D93-97B4-F39654B406EF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7810-420A-90ED-BD794E243A6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5M04
MAT</c:v>
                </c:pt>
                <c:pt idx="1">
                  <c:v>16M04
MAT</c:v>
                </c:pt>
                <c:pt idx="2">
                  <c:v>17M04
MAT</c:v>
                </c:pt>
                <c:pt idx="3">
                  <c:v>18M04
MAT</c:v>
                </c:pt>
                <c:pt idx="4">
                  <c:v>19M04
MAT</c:v>
                </c:pt>
              </c:strCache>
            </c:strRef>
          </c:cat>
          <c:val>
            <c:numRef>
              <c:f>Sheet1!$B$5:$F$5</c:f>
              <c:numCache>
                <c:formatCode>General</c:formatCode>
                <c:ptCount val="5"/>
                <c:pt idx="0">
                  <c:v>151.5</c:v>
                </c:pt>
                <c:pt idx="1">
                  <c:v>151.5</c:v>
                </c:pt>
                <c:pt idx="2">
                  <c:v>163.80000000000001</c:v>
                </c:pt>
                <c:pt idx="3">
                  <c:v>151.5</c:v>
                </c:pt>
                <c:pt idx="4">
                  <c:v>163.80000000000001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5:$K$5</c15:f>
                <c15:dlblRangeCache>
                  <c:ptCount val="5"/>
                  <c:pt idx="0">
                    <c:v>5%</c:v>
                  </c:pt>
                  <c:pt idx="1">
                    <c:v>5%</c:v>
                  </c:pt>
                  <c:pt idx="2">
                    <c:v>5%</c:v>
                  </c:pt>
                  <c:pt idx="3">
                    <c:v>5%</c:v>
                  </c:pt>
                  <c:pt idx="4">
                    <c:v>5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1-4F4B-4646-B5D6-96A2879FDD66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Tier 3</c:v>
                </c:pt>
              </c:strCache>
            </c:strRef>
          </c:tx>
          <c:spPr>
            <a:solidFill>
              <a:srgbClr val="F0A22E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D2DC3A9A-F8B2-4C2E-99FF-40ABB30C6E98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3FE6-4007-9424-00742865B9B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CD6C8B70-A025-44C1-A299-E86E4A97C2A1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7810-420A-90ED-BD794E243A6F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B63B0AF2-549F-420D-971A-423198CEBBBB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7810-420A-90ED-BD794E243A6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21F512B2-98D9-4D18-BC63-A1514727DB4F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7810-420A-90ED-BD794E243A6F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BEED4A10-1CF7-4F7A-B8FD-35DDA12C026A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7810-420A-90ED-BD794E243A6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5M04
MAT</c:v>
                </c:pt>
                <c:pt idx="1">
                  <c:v>16M04
MAT</c:v>
                </c:pt>
                <c:pt idx="2">
                  <c:v>17M04
MAT</c:v>
                </c:pt>
                <c:pt idx="3">
                  <c:v>18M04
MAT</c:v>
                </c:pt>
                <c:pt idx="4">
                  <c:v>19M04
MAT</c:v>
                </c:pt>
              </c:strCache>
            </c:strRef>
          </c:cat>
          <c:val>
            <c:numRef>
              <c:f>Sheet1!$B$4:$F$4</c:f>
              <c:numCache>
                <c:formatCode>General</c:formatCode>
                <c:ptCount val="5"/>
                <c:pt idx="0">
                  <c:v>563.6</c:v>
                </c:pt>
                <c:pt idx="1">
                  <c:v>563.6</c:v>
                </c:pt>
                <c:pt idx="2">
                  <c:v>653.79999999999995</c:v>
                </c:pt>
                <c:pt idx="3">
                  <c:v>563.6</c:v>
                </c:pt>
                <c:pt idx="4">
                  <c:v>653.79999999999995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4:$K$4</c15:f>
                <c15:dlblRangeCache>
                  <c:ptCount val="5"/>
                  <c:pt idx="0">
                    <c:v>20%</c:v>
                  </c:pt>
                  <c:pt idx="1">
                    <c:v>18%</c:v>
                  </c:pt>
                  <c:pt idx="2">
                    <c:v>18%</c:v>
                  </c:pt>
                  <c:pt idx="3">
                    <c:v>18%</c:v>
                  </c:pt>
                  <c:pt idx="4">
                    <c:v>18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3-4F4B-4646-B5D6-96A2879FDD66}"/>
            </c:ext>
          </c:extLst>
        </c:ser>
        <c:ser>
          <c:idx val="3"/>
          <c:order val="3"/>
          <c:tx>
            <c:strRef>
              <c:f>Sheet1!$A$3</c:f>
              <c:strCache>
                <c:ptCount val="1"/>
                <c:pt idx="0">
                  <c:v>Tier 2</c:v>
                </c:pt>
              </c:strCache>
            </c:strRef>
          </c:tx>
          <c:spPr>
            <a:solidFill>
              <a:srgbClr val="C3986D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7B9E7C4D-9F5F-4F8A-8593-FF1671F15C39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3FE6-4007-9424-00742865B9B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925447A1-7D5F-4A09-85D7-240F7B6D0B34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7810-420A-90ED-BD794E243A6F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882A3B16-EB07-4587-99F1-5950B1FE47EF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7810-420A-90ED-BD794E243A6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3FD48B4D-BA30-4D07-BCA4-00799BD12875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7810-420A-90ED-BD794E243A6F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8C8BCF17-2979-4EEB-A85C-EC2614742B5D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7810-420A-90ED-BD794E243A6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5M04
MAT</c:v>
                </c:pt>
                <c:pt idx="1">
                  <c:v>16M04
MAT</c:v>
                </c:pt>
                <c:pt idx="2">
                  <c:v>17M04
MAT</c:v>
                </c:pt>
                <c:pt idx="3">
                  <c:v>18M04
MAT</c:v>
                </c:pt>
                <c:pt idx="4">
                  <c:v>19M04
MAT</c:v>
                </c:pt>
              </c:strCache>
            </c:strRef>
          </c:cat>
          <c:val>
            <c:numRef>
              <c:f>Sheet1!$B$3:$F$3</c:f>
              <c:numCache>
                <c:formatCode>General</c:formatCode>
                <c:ptCount val="5"/>
                <c:pt idx="0">
                  <c:v>753.8</c:v>
                </c:pt>
                <c:pt idx="1">
                  <c:v>753.8</c:v>
                </c:pt>
                <c:pt idx="2">
                  <c:v>842</c:v>
                </c:pt>
                <c:pt idx="3">
                  <c:v>753.8</c:v>
                </c:pt>
                <c:pt idx="4">
                  <c:v>842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3:$K$3</c15:f>
                <c15:dlblRangeCache>
                  <c:ptCount val="5"/>
                  <c:pt idx="0">
                    <c:v>26%</c:v>
                  </c:pt>
                  <c:pt idx="1">
                    <c:v>24%</c:v>
                  </c:pt>
                  <c:pt idx="2">
                    <c:v>24%</c:v>
                  </c:pt>
                  <c:pt idx="3">
                    <c:v>24%</c:v>
                  </c:pt>
                  <c:pt idx="4">
                    <c:v>24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4-4F4B-4646-B5D6-96A2879FDD66}"/>
            </c:ext>
          </c:extLst>
        </c:ser>
        <c:ser>
          <c:idx val="4"/>
          <c:order val="4"/>
          <c:tx>
            <c:strRef>
              <c:f>Sheet1!$A$2</c:f>
              <c:strCache>
                <c:ptCount val="1"/>
                <c:pt idx="0">
                  <c:v>Tier 1</c:v>
                </c:pt>
              </c:strCache>
            </c:strRef>
          </c:tx>
          <c:spPr>
            <a:solidFill>
              <a:srgbClr val="A5644E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D224C07A-C3B5-4339-AF09-A85036554F8E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7810-420A-90ED-BD794E243A6F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47A618DA-8904-4ADC-8295-D8BF509AFF65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7810-420A-90ED-BD794E243A6F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D9C53E33-566B-4259-8EE2-7B44127A8F73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7810-420A-90ED-BD794E243A6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197242FD-0E41-4C8E-890B-8A382B6A35D5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7810-420A-90ED-BD794E243A6F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0EF189D3-BF09-4907-A89C-2CBEB78BA011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7810-420A-90ED-BD794E243A6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5M04
MAT</c:v>
                </c:pt>
                <c:pt idx="1">
                  <c:v>16M04
MAT</c:v>
                </c:pt>
                <c:pt idx="2">
                  <c:v>17M04
MAT</c:v>
                </c:pt>
                <c:pt idx="3">
                  <c:v>18M04
MAT</c:v>
                </c:pt>
                <c:pt idx="4">
                  <c:v>19M04
MAT</c:v>
                </c:pt>
              </c:strCache>
            </c:strRef>
          </c:cat>
          <c:val>
            <c:numRef>
              <c:f>Sheet1!$B$2:$F$2</c:f>
              <c:numCache>
                <c:formatCode>General</c:formatCode>
                <c:ptCount val="5"/>
                <c:pt idx="0">
                  <c:v>1679.1</c:v>
                </c:pt>
                <c:pt idx="1">
                  <c:v>1679.1</c:v>
                </c:pt>
                <c:pt idx="2">
                  <c:v>1809.8</c:v>
                </c:pt>
                <c:pt idx="3">
                  <c:v>1679.1</c:v>
                </c:pt>
                <c:pt idx="4">
                  <c:v>1809.8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2:$K$2</c15:f>
                <c15:dlblRangeCache>
                  <c:ptCount val="5"/>
                  <c:pt idx="0">
                    <c:v>57%</c:v>
                  </c:pt>
                  <c:pt idx="1">
                    <c:v>53%</c:v>
                  </c:pt>
                  <c:pt idx="2">
                    <c:v>51%</c:v>
                  </c:pt>
                  <c:pt idx="3">
                    <c:v>53%</c:v>
                  </c:pt>
                  <c:pt idx="4">
                    <c:v>51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5-4F4B-4646-B5D6-96A2879FDD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serLines>
          <c:spPr>
            <a:ln w="9525" cap="flat" cmpd="sng" algn="ctr">
              <a:solidFill>
                <a:schemeClr val="tx1">
                  <a:lumMod val="60000"/>
                  <a:lumOff val="40000"/>
                </a:schemeClr>
              </a:solidFill>
              <a:prstDash val="sysDash"/>
              <a:round/>
            </a:ln>
            <a:effectLst/>
          </c:spPr>
        </c:serLines>
        <c:axId val="521420104"/>
        <c:axId val="421907448"/>
      </c:barChart>
      <c:catAx>
        <c:axId val="5214201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21907448"/>
        <c:crosses val="autoZero"/>
        <c:auto val="1"/>
        <c:lblAlgn val="ctr"/>
        <c:lblOffset val="100"/>
        <c:noMultiLvlLbl val="0"/>
      </c:catAx>
      <c:valAx>
        <c:axId val="42190744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214201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5396710109512177"/>
          <c:y val="0.2828724491841399"/>
          <c:w val="0.17821399714114838"/>
          <c:h val="0.5563491009501664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chemeClr val="tx1"/>
          </a:solidFill>
          <a:latin typeface="+mn-lt"/>
        </a:defRPr>
      </a:pPr>
      <a:endParaRPr lang="zh-CN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3"/>
          <c:order val="0"/>
          <c:tx>
            <c:strRef>
              <c:f>Sheet1!$E$1</c:f>
              <c:strCache>
                <c:ptCount val="1"/>
                <c:pt idx="0">
                  <c:v>Others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6350">
              <a:solidFill>
                <a:schemeClr val="bg1"/>
              </a:solidFill>
              <a:prstDash val="solid"/>
            </a:ln>
          </c:spPr>
          <c:invertIfNegative val="0"/>
          <c:cat>
            <c:strRef>
              <c:f>Sheet1!$A$2:$A$6</c:f>
              <c:strCache>
                <c:ptCount val="5"/>
                <c:pt idx="0">
                  <c:v>Tier1</c:v>
                </c:pt>
                <c:pt idx="1">
                  <c:v>Tier2</c:v>
                </c:pt>
                <c:pt idx="2">
                  <c:v>Tier3</c:v>
                </c:pt>
                <c:pt idx="3">
                  <c:v>Tier4</c:v>
                </c:pt>
                <c:pt idx="4">
                  <c:v>Tier5</c:v>
                </c:pt>
              </c:strCache>
            </c:strRef>
          </c:cat>
          <c:val>
            <c:numRef>
              <c:f>Sheet1!$E$2:$E$6</c:f>
              <c:numCache>
                <c:formatCode>0.0%</c:formatCode>
                <c:ptCount val="5"/>
                <c:pt idx="0">
                  <c:v>0.81</c:v>
                </c:pt>
                <c:pt idx="1">
                  <c:v>0.81</c:v>
                </c:pt>
                <c:pt idx="2">
                  <c:v>0.81</c:v>
                </c:pt>
                <c:pt idx="3">
                  <c:v>0.81</c:v>
                </c:pt>
                <c:pt idx="4">
                  <c:v>0.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F64-4469-A8E6-C1A5CC3859DB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Competitor2</c:v>
                </c:pt>
              </c:strCache>
            </c:strRef>
          </c:tx>
          <c:spPr>
            <a:solidFill>
              <a:schemeClr val="accent2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Tier1</c:v>
                </c:pt>
                <c:pt idx="1">
                  <c:v>Tier2</c:v>
                </c:pt>
                <c:pt idx="2">
                  <c:v>Tier3</c:v>
                </c:pt>
                <c:pt idx="3">
                  <c:v>Tier4</c:v>
                </c:pt>
                <c:pt idx="4">
                  <c:v>Tier5</c:v>
                </c:pt>
              </c:strCache>
            </c:strRef>
          </c:cat>
          <c:val>
            <c:numRef>
              <c:f>Sheet1!$D$2:$D$6</c:f>
              <c:numCache>
                <c:formatCode>0.0%</c:formatCode>
                <c:ptCount val="5"/>
                <c:pt idx="0">
                  <c:v>0.06</c:v>
                </c:pt>
                <c:pt idx="1">
                  <c:v>0.06</c:v>
                </c:pt>
                <c:pt idx="2">
                  <c:v>0.06</c:v>
                </c:pt>
                <c:pt idx="3">
                  <c:v>0.06</c:v>
                </c:pt>
                <c:pt idx="4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F64-4469-A8E6-C1A5CC3859DB}"/>
            </c:ext>
          </c:extLst>
        </c:ser>
        <c:ser>
          <c:idx val="1"/>
          <c:order val="2"/>
          <c:tx>
            <c:strRef>
              <c:f>Sheet1!$C$1</c:f>
              <c:strCache>
                <c:ptCount val="1"/>
                <c:pt idx="0">
                  <c:v>Competitor1</c:v>
                </c:pt>
              </c:strCache>
            </c:strRef>
          </c:tx>
          <c:spPr>
            <a:solidFill>
              <a:schemeClr val="accent1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Tier1</c:v>
                </c:pt>
                <c:pt idx="1">
                  <c:v>Tier2</c:v>
                </c:pt>
                <c:pt idx="2">
                  <c:v>Tier3</c:v>
                </c:pt>
                <c:pt idx="3">
                  <c:v>Tier4</c:v>
                </c:pt>
                <c:pt idx="4">
                  <c:v>Tier5</c:v>
                </c:pt>
              </c:strCache>
            </c:strRef>
          </c:cat>
          <c:val>
            <c:numRef>
              <c:f>Sheet1!$C$2:$C$6</c:f>
              <c:numCache>
                <c:formatCode>0.0%</c:formatCode>
                <c:ptCount val="5"/>
                <c:pt idx="0">
                  <c:v>0.08</c:v>
                </c:pt>
                <c:pt idx="1">
                  <c:v>0.08</c:v>
                </c:pt>
                <c:pt idx="2">
                  <c:v>0.08</c:v>
                </c:pt>
                <c:pt idx="3">
                  <c:v>0.08</c:v>
                </c:pt>
                <c:pt idx="4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F64-4469-A8E6-C1A5CC3859DB}"/>
            </c:ext>
          </c:extLst>
        </c:ser>
        <c:ser>
          <c:idx val="0"/>
          <c:order val="3"/>
          <c:tx>
            <c:strRef>
              <c:f>Sheet1!$B$1</c:f>
              <c:strCache>
                <c:ptCount val="1"/>
                <c:pt idx="0">
                  <c:v>Int Prod</c:v>
                </c:pt>
              </c:strCache>
            </c:strRef>
          </c:tx>
          <c:spPr>
            <a:solidFill>
              <a:srgbClr val="FF0000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Tier1</c:v>
                </c:pt>
                <c:pt idx="1">
                  <c:v>Tier2</c:v>
                </c:pt>
                <c:pt idx="2">
                  <c:v>Tier3</c:v>
                </c:pt>
                <c:pt idx="3">
                  <c:v>Tier4</c:v>
                </c:pt>
                <c:pt idx="4">
                  <c:v>Tier5</c:v>
                </c:pt>
              </c:strCache>
            </c:strRef>
          </c:cat>
          <c:val>
            <c:numRef>
              <c:f>Sheet1!$B$2:$B$6</c:f>
              <c:numCache>
                <c:formatCode>0.0%</c:formatCode>
                <c:ptCount val="5"/>
                <c:pt idx="0">
                  <c:v>0.05</c:v>
                </c:pt>
                <c:pt idx="1">
                  <c:v>0.05</c:v>
                </c:pt>
                <c:pt idx="2">
                  <c:v>0.05</c:v>
                </c:pt>
                <c:pt idx="3">
                  <c:v>0.05</c:v>
                </c:pt>
                <c:pt idx="4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F64-4469-A8E6-C1A5CC3859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421910584"/>
        <c:axId val="421905096"/>
      </c:barChart>
      <c:lineChart>
        <c:grouping val="standard"/>
        <c:varyColors val="0"/>
        <c:ser>
          <c:idx val="4"/>
          <c:order val="4"/>
          <c:tx>
            <c:strRef>
              <c:f>Sheet1!$F$1</c:f>
              <c:strCache>
                <c:ptCount val="1"/>
                <c:pt idx="0">
                  <c:v>EV_Int Prod</c:v>
                </c:pt>
              </c:strCache>
            </c:strRef>
          </c:tx>
          <c:spPr>
            <a:ln w="19050">
              <a:solidFill>
                <a:srgbClr val="C00000"/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rgbClr val="C00000"/>
                </a:solidFill>
              </a:ln>
            </c:spPr>
          </c:marker>
          <c:cat>
            <c:strRef>
              <c:f>Sheet1!$A$2:$A$6</c:f>
              <c:strCache>
                <c:ptCount val="5"/>
                <c:pt idx="0">
                  <c:v>Tier1</c:v>
                </c:pt>
                <c:pt idx="1">
                  <c:v>Tier2</c:v>
                </c:pt>
                <c:pt idx="2">
                  <c:v>Tier3</c:v>
                </c:pt>
                <c:pt idx="3">
                  <c:v>Tier4</c:v>
                </c:pt>
                <c:pt idx="4">
                  <c:v>Tier5</c:v>
                </c:pt>
              </c:strCache>
            </c:strRef>
          </c:cat>
          <c:val>
            <c:numRef>
              <c:f>Sheet1!$F$2:$F$6</c:f>
              <c:numCache>
                <c:formatCode>0.0</c:formatCode>
                <c:ptCount val="5"/>
                <c:pt idx="0">
                  <c:v>100</c:v>
                </c:pt>
                <c:pt idx="1">
                  <c:v>101</c:v>
                </c:pt>
                <c:pt idx="2">
                  <c:v>102</c:v>
                </c:pt>
                <c:pt idx="3">
                  <c:v>103</c:v>
                </c:pt>
                <c:pt idx="4">
                  <c:v>1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F64-4469-A8E6-C1A5CC3859DB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EV_Competitor1</c:v>
                </c:pt>
              </c:strCache>
            </c:strRef>
          </c:tx>
          <c:spPr>
            <a:ln w="19050">
              <a:solidFill>
                <a:schemeClr val="accent1">
                  <a:lumMod val="75000"/>
                </a:schemeClr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1">
                    <a:lumMod val="75000"/>
                  </a:schemeClr>
                </a:solidFill>
              </a:ln>
            </c:spPr>
          </c:marker>
          <c:cat>
            <c:strRef>
              <c:f>Sheet1!$A$2:$A$6</c:f>
              <c:strCache>
                <c:ptCount val="5"/>
                <c:pt idx="0">
                  <c:v>Tier1</c:v>
                </c:pt>
                <c:pt idx="1">
                  <c:v>Tier2</c:v>
                </c:pt>
                <c:pt idx="2">
                  <c:v>Tier3</c:v>
                </c:pt>
                <c:pt idx="3">
                  <c:v>Tier4</c:v>
                </c:pt>
                <c:pt idx="4">
                  <c:v>Tier5</c:v>
                </c:pt>
              </c:strCache>
            </c:strRef>
          </c:cat>
          <c:val>
            <c:numRef>
              <c:f>Sheet1!$G$2:$G$6</c:f>
              <c:numCache>
                <c:formatCode>0.0</c:formatCode>
                <c:ptCount val="5"/>
                <c:pt idx="0">
                  <c:v>95</c:v>
                </c:pt>
                <c:pt idx="1">
                  <c:v>96</c:v>
                </c:pt>
                <c:pt idx="2">
                  <c:v>97</c:v>
                </c:pt>
                <c:pt idx="3">
                  <c:v>98</c:v>
                </c:pt>
                <c:pt idx="4">
                  <c:v>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5F64-4469-A8E6-C1A5CC3859DB}"/>
            </c:ext>
          </c:extLst>
        </c:ser>
        <c:ser>
          <c:idx val="7"/>
          <c:order val="6"/>
          <c:tx>
            <c:strRef>
              <c:f>Sheet1!$H$1</c:f>
              <c:strCache>
                <c:ptCount val="1"/>
                <c:pt idx="0">
                  <c:v>EV_Competitor2</c:v>
                </c:pt>
              </c:strCache>
            </c:strRef>
          </c:tx>
          <c:spPr>
            <a:ln w="19050">
              <a:solidFill>
                <a:schemeClr val="accent2">
                  <a:lumMod val="75000"/>
                </a:schemeClr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2">
                    <a:lumMod val="75000"/>
                  </a:schemeClr>
                </a:solidFill>
              </a:ln>
            </c:spPr>
          </c:marker>
          <c:cat>
            <c:strRef>
              <c:f>Sheet1!$A$2:$A$6</c:f>
              <c:strCache>
                <c:ptCount val="5"/>
                <c:pt idx="0">
                  <c:v>Tier1</c:v>
                </c:pt>
                <c:pt idx="1">
                  <c:v>Tier2</c:v>
                </c:pt>
                <c:pt idx="2">
                  <c:v>Tier3</c:v>
                </c:pt>
                <c:pt idx="3">
                  <c:v>Tier4</c:v>
                </c:pt>
                <c:pt idx="4">
                  <c:v>Tier5</c:v>
                </c:pt>
              </c:strCache>
            </c:strRef>
          </c:cat>
          <c:val>
            <c:numRef>
              <c:f>Sheet1!$H$2:$H$6</c:f>
              <c:numCache>
                <c:formatCode>0.0</c:formatCode>
                <c:ptCount val="5"/>
                <c:pt idx="0">
                  <c:v>90</c:v>
                </c:pt>
                <c:pt idx="1">
                  <c:v>90</c:v>
                </c:pt>
                <c:pt idx="2">
                  <c:v>90</c:v>
                </c:pt>
                <c:pt idx="3">
                  <c:v>90</c:v>
                </c:pt>
                <c:pt idx="4">
                  <c:v>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5F64-4469-A8E6-C1A5CC3859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22145704"/>
        <c:axId val="421903920"/>
      </c:lineChart>
      <c:catAx>
        <c:axId val="4219105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421905096"/>
        <c:crosses val="autoZero"/>
        <c:auto val="1"/>
        <c:lblAlgn val="ctr"/>
        <c:lblOffset val="100"/>
        <c:noMultiLvlLbl val="0"/>
      </c:catAx>
      <c:valAx>
        <c:axId val="421905096"/>
        <c:scaling>
          <c:orientation val="minMax"/>
          <c:max val="1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altLang="zh-CN" dirty="0"/>
                  <a:t>Share</a:t>
                </a:r>
                <a:endParaRPr lang="zh-CN" dirty="0"/>
              </a:p>
            </c:rich>
          </c:tx>
          <c:layout>
            <c:manualLayout>
              <c:xMode val="edge"/>
              <c:yMode val="edge"/>
              <c:x val="9.9589676290463697E-2"/>
              <c:y val="3.5400272566550442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421910584"/>
        <c:crosses val="autoZero"/>
        <c:crossBetween val="between"/>
      </c:valAx>
      <c:valAx>
        <c:axId val="421903920"/>
        <c:scaling>
          <c:orientation val="minMax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altLang="zh-CN" dirty="0"/>
                  <a:t>EV</a:t>
                </a:r>
              </a:p>
            </c:rich>
          </c:tx>
          <c:layout>
            <c:manualLayout>
              <c:xMode val="edge"/>
              <c:yMode val="edge"/>
              <c:x val="0.96331111111111112"/>
              <c:y val="3.6121772258864628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#,##0_);[Red]\(#,##0\)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422145704"/>
        <c:crosses val="max"/>
        <c:crossBetween val="between"/>
      </c:valAx>
      <c:catAx>
        <c:axId val="4221457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21903920"/>
        <c:crosses val="autoZero"/>
        <c:auto val="1"/>
        <c:lblAlgn val="ctr"/>
        <c:lblOffset val="100"/>
        <c:noMultiLvlLbl val="0"/>
      </c:cat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>
          <a:latin typeface="+mj-lt"/>
        </a:defRPr>
      </a:pPr>
      <a:endParaRPr lang="zh-CN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3"/>
          <c:order val="0"/>
          <c:tx>
            <c:strRef>
              <c:f>Sheet1!$E$1</c:f>
              <c:strCache>
                <c:ptCount val="1"/>
                <c:pt idx="0">
                  <c:v>Others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6350">
              <a:solidFill>
                <a:schemeClr val="bg1"/>
              </a:solidFill>
              <a:prstDash val="solid"/>
            </a:ln>
          </c:spPr>
          <c:invertIfNegative val="0"/>
          <c:cat>
            <c:strRef>
              <c:f>Sheet1!$A$2:$A$6</c:f>
              <c:strCache>
                <c:ptCount val="5"/>
                <c:pt idx="0">
                  <c:v>Tier1</c:v>
                </c:pt>
                <c:pt idx="1">
                  <c:v>Tier2</c:v>
                </c:pt>
                <c:pt idx="2">
                  <c:v>Tier3</c:v>
                </c:pt>
                <c:pt idx="3">
                  <c:v>Tier4</c:v>
                </c:pt>
                <c:pt idx="4">
                  <c:v>Tier5</c:v>
                </c:pt>
              </c:strCache>
            </c:strRef>
          </c:cat>
          <c:val>
            <c:numRef>
              <c:f>Sheet1!$E$2:$E$6</c:f>
              <c:numCache>
                <c:formatCode>0.0%</c:formatCode>
                <c:ptCount val="5"/>
                <c:pt idx="0">
                  <c:v>0.81</c:v>
                </c:pt>
                <c:pt idx="1">
                  <c:v>0.81</c:v>
                </c:pt>
                <c:pt idx="2">
                  <c:v>0.81</c:v>
                </c:pt>
                <c:pt idx="3">
                  <c:v>0.81</c:v>
                </c:pt>
                <c:pt idx="4">
                  <c:v>0.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FE2-4EE4-9D55-84A8AD85291C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Competitor2</c:v>
                </c:pt>
              </c:strCache>
            </c:strRef>
          </c:tx>
          <c:spPr>
            <a:solidFill>
              <a:schemeClr val="accent2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Tier1</c:v>
                </c:pt>
                <c:pt idx="1">
                  <c:v>Tier2</c:v>
                </c:pt>
                <c:pt idx="2">
                  <c:v>Tier3</c:v>
                </c:pt>
                <c:pt idx="3">
                  <c:v>Tier4</c:v>
                </c:pt>
                <c:pt idx="4">
                  <c:v>Tier5</c:v>
                </c:pt>
              </c:strCache>
            </c:strRef>
          </c:cat>
          <c:val>
            <c:numRef>
              <c:f>Sheet1!$D$2:$D$6</c:f>
              <c:numCache>
                <c:formatCode>0.0%</c:formatCode>
                <c:ptCount val="5"/>
                <c:pt idx="0">
                  <c:v>0.06</c:v>
                </c:pt>
                <c:pt idx="1">
                  <c:v>0.06</c:v>
                </c:pt>
                <c:pt idx="2">
                  <c:v>0.06</c:v>
                </c:pt>
                <c:pt idx="3">
                  <c:v>0.06</c:v>
                </c:pt>
                <c:pt idx="4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FE2-4EE4-9D55-84A8AD85291C}"/>
            </c:ext>
          </c:extLst>
        </c:ser>
        <c:ser>
          <c:idx val="1"/>
          <c:order val="2"/>
          <c:tx>
            <c:strRef>
              <c:f>Sheet1!$C$1</c:f>
              <c:strCache>
                <c:ptCount val="1"/>
                <c:pt idx="0">
                  <c:v>Competitor1</c:v>
                </c:pt>
              </c:strCache>
            </c:strRef>
          </c:tx>
          <c:spPr>
            <a:solidFill>
              <a:schemeClr val="accent1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Tier1</c:v>
                </c:pt>
                <c:pt idx="1">
                  <c:v>Tier2</c:v>
                </c:pt>
                <c:pt idx="2">
                  <c:v>Tier3</c:v>
                </c:pt>
                <c:pt idx="3">
                  <c:v>Tier4</c:v>
                </c:pt>
                <c:pt idx="4">
                  <c:v>Tier5</c:v>
                </c:pt>
              </c:strCache>
            </c:strRef>
          </c:cat>
          <c:val>
            <c:numRef>
              <c:f>Sheet1!$C$2:$C$6</c:f>
              <c:numCache>
                <c:formatCode>0.0%</c:formatCode>
                <c:ptCount val="5"/>
                <c:pt idx="0">
                  <c:v>0.08</c:v>
                </c:pt>
                <c:pt idx="1">
                  <c:v>0.08</c:v>
                </c:pt>
                <c:pt idx="2">
                  <c:v>0.08</c:v>
                </c:pt>
                <c:pt idx="3">
                  <c:v>0.08</c:v>
                </c:pt>
                <c:pt idx="4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FE2-4EE4-9D55-84A8AD85291C}"/>
            </c:ext>
          </c:extLst>
        </c:ser>
        <c:ser>
          <c:idx val="0"/>
          <c:order val="3"/>
          <c:tx>
            <c:strRef>
              <c:f>Sheet1!$B$1</c:f>
              <c:strCache>
                <c:ptCount val="1"/>
                <c:pt idx="0">
                  <c:v>Int Prod</c:v>
                </c:pt>
              </c:strCache>
            </c:strRef>
          </c:tx>
          <c:spPr>
            <a:solidFill>
              <a:srgbClr val="FF0000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Tier1</c:v>
                </c:pt>
                <c:pt idx="1">
                  <c:v>Tier2</c:v>
                </c:pt>
                <c:pt idx="2">
                  <c:v>Tier3</c:v>
                </c:pt>
                <c:pt idx="3">
                  <c:v>Tier4</c:v>
                </c:pt>
                <c:pt idx="4">
                  <c:v>Tier5</c:v>
                </c:pt>
              </c:strCache>
            </c:strRef>
          </c:cat>
          <c:val>
            <c:numRef>
              <c:f>Sheet1!$B$2:$B$6</c:f>
              <c:numCache>
                <c:formatCode>0.0%</c:formatCode>
                <c:ptCount val="5"/>
                <c:pt idx="0">
                  <c:v>0.05</c:v>
                </c:pt>
                <c:pt idx="1">
                  <c:v>0.05</c:v>
                </c:pt>
                <c:pt idx="2">
                  <c:v>0.05</c:v>
                </c:pt>
                <c:pt idx="3">
                  <c:v>0.05</c:v>
                </c:pt>
                <c:pt idx="4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FE2-4EE4-9D55-84A8AD8529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422148840"/>
        <c:axId val="422141784"/>
      </c:barChart>
      <c:lineChart>
        <c:grouping val="standard"/>
        <c:varyColors val="0"/>
        <c:ser>
          <c:idx val="4"/>
          <c:order val="4"/>
          <c:tx>
            <c:strRef>
              <c:f>Sheet1!$F$1</c:f>
              <c:strCache>
                <c:ptCount val="1"/>
                <c:pt idx="0">
                  <c:v>EV_Int Prod</c:v>
                </c:pt>
              </c:strCache>
            </c:strRef>
          </c:tx>
          <c:spPr>
            <a:ln w="19050">
              <a:solidFill>
                <a:srgbClr val="C00000"/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rgbClr val="C00000"/>
                </a:solidFill>
              </a:ln>
            </c:spPr>
          </c:marker>
          <c:cat>
            <c:strRef>
              <c:f>Sheet1!$A$2:$A$6</c:f>
              <c:strCache>
                <c:ptCount val="5"/>
                <c:pt idx="0">
                  <c:v>Tier1</c:v>
                </c:pt>
                <c:pt idx="1">
                  <c:v>Tier2</c:v>
                </c:pt>
                <c:pt idx="2">
                  <c:v>Tier3</c:v>
                </c:pt>
                <c:pt idx="3">
                  <c:v>Tier4</c:v>
                </c:pt>
                <c:pt idx="4">
                  <c:v>Tier5</c:v>
                </c:pt>
              </c:strCache>
            </c:strRef>
          </c:cat>
          <c:val>
            <c:numRef>
              <c:f>Sheet1!$F$2:$F$6</c:f>
              <c:numCache>
                <c:formatCode>0.0</c:formatCode>
                <c:ptCount val="5"/>
                <c:pt idx="0">
                  <c:v>100</c:v>
                </c:pt>
                <c:pt idx="1">
                  <c:v>101</c:v>
                </c:pt>
                <c:pt idx="2">
                  <c:v>102</c:v>
                </c:pt>
                <c:pt idx="3">
                  <c:v>103</c:v>
                </c:pt>
                <c:pt idx="4">
                  <c:v>1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FE2-4EE4-9D55-84A8AD85291C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EV_Competitor1</c:v>
                </c:pt>
              </c:strCache>
            </c:strRef>
          </c:tx>
          <c:spPr>
            <a:ln w="19050">
              <a:solidFill>
                <a:schemeClr val="accent1">
                  <a:lumMod val="75000"/>
                </a:schemeClr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1">
                    <a:lumMod val="75000"/>
                  </a:schemeClr>
                </a:solidFill>
              </a:ln>
            </c:spPr>
          </c:marker>
          <c:cat>
            <c:strRef>
              <c:f>Sheet1!$A$2:$A$6</c:f>
              <c:strCache>
                <c:ptCount val="5"/>
                <c:pt idx="0">
                  <c:v>Tier1</c:v>
                </c:pt>
                <c:pt idx="1">
                  <c:v>Tier2</c:v>
                </c:pt>
                <c:pt idx="2">
                  <c:v>Tier3</c:v>
                </c:pt>
                <c:pt idx="3">
                  <c:v>Tier4</c:v>
                </c:pt>
                <c:pt idx="4">
                  <c:v>Tier5</c:v>
                </c:pt>
              </c:strCache>
            </c:strRef>
          </c:cat>
          <c:val>
            <c:numRef>
              <c:f>Sheet1!$G$2:$G$6</c:f>
              <c:numCache>
                <c:formatCode>0.0</c:formatCode>
                <c:ptCount val="5"/>
                <c:pt idx="0">
                  <c:v>95</c:v>
                </c:pt>
                <c:pt idx="1">
                  <c:v>96</c:v>
                </c:pt>
                <c:pt idx="2">
                  <c:v>97</c:v>
                </c:pt>
                <c:pt idx="3">
                  <c:v>98</c:v>
                </c:pt>
                <c:pt idx="4">
                  <c:v>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FE2-4EE4-9D55-84A8AD85291C}"/>
            </c:ext>
          </c:extLst>
        </c:ser>
        <c:ser>
          <c:idx val="7"/>
          <c:order val="6"/>
          <c:tx>
            <c:strRef>
              <c:f>Sheet1!$H$1</c:f>
              <c:strCache>
                <c:ptCount val="1"/>
                <c:pt idx="0">
                  <c:v>EV_Competitor2</c:v>
                </c:pt>
              </c:strCache>
            </c:strRef>
          </c:tx>
          <c:spPr>
            <a:ln w="19050">
              <a:solidFill>
                <a:schemeClr val="accent2">
                  <a:lumMod val="75000"/>
                </a:schemeClr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2">
                    <a:lumMod val="75000"/>
                  </a:schemeClr>
                </a:solidFill>
              </a:ln>
            </c:spPr>
          </c:marker>
          <c:cat>
            <c:strRef>
              <c:f>Sheet1!$A$2:$A$6</c:f>
              <c:strCache>
                <c:ptCount val="5"/>
                <c:pt idx="0">
                  <c:v>Tier1</c:v>
                </c:pt>
                <c:pt idx="1">
                  <c:v>Tier2</c:v>
                </c:pt>
                <c:pt idx="2">
                  <c:v>Tier3</c:v>
                </c:pt>
                <c:pt idx="3">
                  <c:v>Tier4</c:v>
                </c:pt>
                <c:pt idx="4">
                  <c:v>Tier5</c:v>
                </c:pt>
              </c:strCache>
            </c:strRef>
          </c:cat>
          <c:val>
            <c:numRef>
              <c:f>Sheet1!$H$2:$H$6</c:f>
              <c:numCache>
                <c:formatCode>0.0</c:formatCode>
                <c:ptCount val="5"/>
                <c:pt idx="0">
                  <c:v>90</c:v>
                </c:pt>
                <c:pt idx="1">
                  <c:v>90</c:v>
                </c:pt>
                <c:pt idx="2">
                  <c:v>90</c:v>
                </c:pt>
                <c:pt idx="3">
                  <c:v>90</c:v>
                </c:pt>
                <c:pt idx="4">
                  <c:v>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2FE2-4EE4-9D55-84A8AD8529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21756440"/>
        <c:axId val="521756048"/>
      </c:lineChart>
      <c:catAx>
        <c:axId val="4221488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422141784"/>
        <c:crosses val="autoZero"/>
        <c:auto val="1"/>
        <c:lblAlgn val="ctr"/>
        <c:lblOffset val="100"/>
        <c:noMultiLvlLbl val="0"/>
      </c:catAx>
      <c:valAx>
        <c:axId val="422141784"/>
        <c:scaling>
          <c:orientation val="minMax"/>
          <c:max val="1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altLang="zh-CN" dirty="0"/>
                  <a:t>Share</a:t>
                </a:r>
                <a:endParaRPr lang="zh-CN" dirty="0"/>
              </a:p>
            </c:rich>
          </c:tx>
          <c:layout>
            <c:manualLayout>
              <c:xMode val="edge"/>
              <c:yMode val="edge"/>
              <c:x val="9.9589676290463697E-2"/>
              <c:y val="3.5400272566550442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422148840"/>
        <c:crosses val="autoZero"/>
        <c:crossBetween val="between"/>
      </c:valAx>
      <c:valAx>
        <c:axId val="521756048"/>
        <c:scaling>
          <c:orientation val="minMax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altLang="zh-CN" dirty="0"/>
                  <a:t>EV</a:t>
                </a:r>
              </a:p>
            </c:rich>
          </c:tx>
          <c:layout>
            <c:manualLayout>
              <c:xMode val="edge"/>
              <c:yMode val="edge"/>
              <c:x val="0.96331111111111112"/>
              <c:y val="3.6121772258864628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#,##0_);[Red]\(#,##0\)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521756440"/>
        <c:crosses val="max"/>
        <c:crossBetween val="between"/>
      </c:valAx>
      <c:catAx>
        <c:axId val="52175644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21756048"/>
        <c:crosses val="autoZero"/>
        <c:auto val="1"/>
        <c:lblAlgn val="ctr"/>
        <c:lblOffset val="100"/>
        <c:noMultiLvlLbl val="0"/>
      </c:cat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>
          <a:latin typeface="+mj-lt"/>
        </a:defRPr>
      </a:pPr>
      <a:endParaRPr lang="zh-CN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935858128353424"/>
          <c:y val="3.9855083834041946E-2"/>
          <c:w val="0.79692228183866398"/>
          <c:h val="0.57233383896320866"/>
        </c:manualLayout>
      </c:layout>
      <c:barChart>
        <c:barDir val="col"/>
        <c:grouping val="stacked"/>
        <c:varyColors val="0"/>
        <c:ser>
          <c:idx val="3"/>
          <c:order val="0"/>
          <c:tx>
            <c:strRef>
              <c:f>Sheet1!$E$1</c:f>
              <c:strCache>
                <c:ptCount val="1"/>
                <c:pt idx="0">
                  <c:v>Others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6350">
              <a:solidFill>
                <a:schemeClr val="bg1"/>
              </a:solidFill>
              <a:prstDash val="solid"/>
            </a:ln>
          </c:spPr>
          <c:invertIfNegative val="0"/>
          <c:cat>
            <c:strRef>
              <c:f>Sheet1!$A$2:$A$17</c:f>
              <c:strCache>
                <c:ptCount val="16"/>
                <c:pt idx="0">
                  <c:v>City1</c:v>
                </c:pt>
                <c:pt idx="1">
                  <c:v>City2</c:v>
                </c:pt>
                <c:pt idx="2">
                  <c:v>City3</c:v>
                </c:pt>
                <c:pt idx="3">
                  <c:v>City4</c:v>
                </c:pt>
                <c:pt idx="4">
                  <c:v>City5</c:v>
                </c:pt>
                <c:pt idx="6">
                  <c:v>City1</c:v>
                </c:pt>
                <c:pt idx="7">
                  <c:v>City2</c:v>
                </c:pt>
                <c:pt idx="8">
                  <c:v>City3</c:v>
                </c:pt>
                <c:pt idx="9">
                  <c:v>City4</c:v>
                </c:pt>
                <c:pt idx="10">
                  <c:v>City5</c:v>
                </c:pt>
                <c:pt idx="11">
                  <c:v>City6</c:v>
                </c:pt>
                <c:pt idx="12">
                  <c:v>City7</c:v>
                </c:pt>
                <c:pt idx="13">
                  <c:v>City8</c:v>
                </c:pt>
                <c:pt idx="14">
                  <c:v>City9</c:v>
                </c:pt>
                <c:pt idx="15">
                  <c:v>City10</c:v>
                </c:pt>
              </c:strCache>
            </c:strRef>
          </c:cat>
          <c:val>
            <c:numRef>
              <c:f>Sheet1!$E$2:$E$17</c:f>
              <c:numCache>
                <c:formatCode>0.0%</c:formatCode>
                <c:ptCount val="16"/>
                <c:pt idx="0">
                  <c:v>0.81</c:v>
                </c:pt>
                <c:pt idx="1">
                  <c:v>0.81</c:v>
                </c:pt>
                <c:pt idx="2">
                  <c:v>0.81</c:v>
                </c:pt>
                <c:pt idx="3">
                  <c:v>0.81</c:v>
                </c:pt>
                <c:pt idx="4">
                  <c:v>0.81</c:v>
                </c:pt>
                <c:pt idx="6">
                  <c:v>0.81</c:v>
                </c:pt>
                <c:pt idx="7">
                  <c:v>0.81</c:v>
                </c:pt>
                <c:pt idx="8">
                  <c:v>0.81</c:v>
                </c:pt>
                <c:pt idx="9">
                  <c:v>0.81</c:v>
                </c:pt>
                <c:pt idx="10">
                  <c:v>0.81</c:v>
                </c:pt>
                <c:pt idx="11">
                  <c:v>0.81</c:v>
                </c:pt>
                <c:pt idx="12">
                  <c:v>0.81</c:v>
                </c:pt>
                <c:pt idx="13">
                  <c:v>0.81</c:v>
                </c:pt>
                <c:pt idx="14">
                  <c:v>0.81</c:v>
                </c:pt>
                <c:pt idx="15">
                  <c:v>0.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C9-4DAF-A534-A3B6A4705BA0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Competitor2</c:v>
                </c:pt>
              </c:strCache>
            </c:strRef>
          </c:tx>
          <c:spPr>
            <a:solidFill>
              <a:schemeClr val="accent2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17</c:f>
              <c:strCache>
                <c:ptCount val="16"/>
                <c:pt idx="0">
                  <c:v>City1</c:v>
                </c:pt>
                <c:pt idx="1">
                  <c:v>City2</c:v>
                </c:pt>
                <c:pt idx="2">
                  <c:v>City3</c:v>
                </c:pt>
                <c:pt idx="3">
                  <c:v>City4</c:v>
                </c:pt>
                <c:pt idx="4">
                  <c:v>City5</c:v>
                </c:pt>
                <c:pt idx="6">
                  <c:v>City1</c:v>
                </c:pt>
                <c:pt idx="7">
                  <c:v>City2</c:v>
                </c:pt>
                <c:pt idx="8">
                  <c:v>City3</c:v>
                </c:pt>
                <c:pt idx="9">
                  <c:v>City4</c:v>
                </c:pt>
                <c:pt idx="10">
                  <c:v>City5</c:v>
                </c:pt>
                <c:pt idx="11">
                  <c:v>City6</c:v>
                </c:pt>
                <c:pt idx="12">
                  <c:v>City7</c:v>
                </c:pt>
                <c:pt idx="13">
                  <c:v>City8</c:v>
                </c:pt>
                <c:pt idx="14">
                  <c:v>City9</c:v>
                </c:pt>
                <c:pt idx="15">
                  <c:v>City10</c:v>
                </c:pt>
              </c:strCache>
            </c:strRef>
          </c:cat>
          <c:val>
            <c:numRef>
              <c:f>Sheet1!$D$2:$D$17</c:f>
              <c:numCache>
                <c:formatCode>0.0%</c:formatCode>
                <c:ptCount val="16"/>
                <c:pt idx="0">
                  <c:v>0.06</c:v>
                </c:pt>
                <c:pt idx="1">
                  <c:v>0.06</c:v>
                </c:pt>
                <c:pt idx="2">
                  <c:v>0.06</c:v>
                </c:pt>
                <c:pt idx="3">
                  <c:v>0.06</c:v>
                </c:pt>
                <c:pt idx="4">
                  <c:v>0.06</c:v>
                </c:pt>
                <c:pt idx="6">
                  <c:v>0.06</c:v>
                </c:pt>
                <c:pt idx="7">
                  <c:v>0.06</c:v>
                </c:pt>
                <c:pt idx="8">
                  <c:v>0.06</c:v>
                </c:pt>
                <c:pt idx="9">
                  <c:v>0.06</c:v>
                </c:pt>
                <c:pt idx="10">
                  <c:v>0.06</c:v>
                </c:pt>
                <c:pt idx="11">
                  <c:v>0.06</c:v>
                </c:pt>
                <c:pt idx="12">
                  <c:v>0.06</c:v>
                </c:pt>
                <c:pt idx="13">
                  <c:v>0.06</c:v>
                </c:pt>
                <c:pt idx="14">
                  <c:v>0.06</c:v>
                </c:pt>
                <c:pt idx="15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4C9-4DAF-A534-A3B6A4705BA0}"/>
            </c:ext>
          </c:extLst>
        </c:ser>
        <c:ser>
          <c:idx val="1"/>
          <c:order val="2"/>
          <c:tx>
            <c:strRef>
              <c:f>Sheet1!$C$1</c:f>
              <c:strCache>
                <c:ptCount val="1"/>
                <c:pt idx="0">
                  <c:v>Competitor1</c:v>
                </c:pt>
              </c:strCache>
            </c:strRef>
          </c:tx>
          <c:spPr>
            <a:solidFill>
              <a:schemeClr val="accent1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17</c:f>
              <c:strCache>
                <c:ptCount val="16"/>
                <c:pt idx="0">
                  <c:v>City1</c:v>
                </c:pt>
                <c:pt idx="1">
                  <c:v>City2</c:v>
                </c:pt>
                <c:pt idx="2">
                  <c:v>City3</c:v>
                </c:pt>
                <c:pt idx="3">
                  <c:v>City4</c:v>
                </c:pt>
                <c:pt idx="4">
                  <c:v>City5</c:v>
                </c:pt>
                <c:pt idx="6">
                  <c:v>City1</c:v>
                </c:pt>
                <c:pt idx="7">
                  <c:v>City2</c:v>
                </c:pt>
                <c:pt idx="8">
                  <c:v>City3</c:v>
                </c:pt>
                <c:pt idx="9">
                  <c:v>City4</c:v>
                </c:pt>
                <c:pt idx="10">
                  <c:v>City5</c:v>
                </c:pt>
                <c:pt idx="11">
                  <c:v>City6</c:v>
                </c:pt>
                <c:pt idx="12">
                  <c:v>City7</c:v>
                </c:pt>
                <c:pt idx="13">
                  <c:v>City8</c:v>
                </c:pt>
                <c:pt idx="14">
                  <c:v>City9</c:v>
                </c:pt>
                <c:pt idx="15">
                  <c:v>City10</c:v>
                </c:pt>
              </c:strCache>
            </c:strRef>
          </c:cat>
          <c:val>
            <c:numRef>
              <c:f>Sheet1!$C$2:$C$17</c:f>
              <c:numCache>
                <c:formatCode>0.0%</c:formatCode>
                <c:ptCount val="16"/>
                <c:pt idx="0">
                  <c:v>0.08</c:v>
                </c:pt>
                <c:pt idx="1">
                  <c:v>0.08</c:v>
                </c:pt>
                <c:pt idx="2">
                  <c:v>0.08</c:v>
                </c:pt>
                <c:pt idx="3">
                  <c:v>0.08</c:v>
                </c:pt>
                <c:pt idx="4">
                  <c:v>0.08</c:v>
                </c:pt>
                <c:pt idx="6">
                  <c:v>0.08</c:v>
                </c:pt>
                <c:pt idx="7">
                  <c:v>0.08</c:v>
                </c:pt>
                <c:pt idx="8">
                  <c:v>0.08</c:v>
                </c:pt>
                <c:pt idx="9">
                  <c:v>0.08</c:v>
                </c:pt>
                <c:pt idx="10">
                  <c:v>0.08</c:v>
                </c:pt>
                <c:pt idx="11">
                  <c:v>0.08</c:v>
                </c:pt>
                <c:pt idx="12">
                  <c:v>0.08</c:v>
                </c:pt>
                <c:pt idx="13">
                  <c:v>0.08</c:v>
                </c:pt>
                <c:pt idx="14">
                  <c:v>0.08</c:v>
                </c:pt>
                <c:pt idx="15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4C9-4DAF-A534-A3B6A4705BA0}"/>
            </c:ext>
          </c:extLst>
        </c:ser>
        <c:ser>
          <c:idx val="0"/>
          <c:order val="3"/>
          <c:tx>
            <c:strRef>
              <c:f>Sheet1!$B$1</c:f>
              <c:strCache>
                <c:ptCount val="1"/>
                <c:pt idx="0">
                  <c:v>Int Prod</c:v>
                </c:pt>
              </c:strCache>
            </c:strRef>
          </c:tx>
          <c:spPr>
            <a:solidFill>
              <a:srgbClr val="FF0000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17</c:f>
              <c:strCache>
                <c:ptCount val="16"/>
                <c:pt idx="0">
                  <c:v>City1</c:v>
                </c:pt>
                <c:pt idx="1">
                  <c:v>City2</c:v>
                </c:pt>
                <c:pt idx="2">
                  <c:v>City3</c:v>
                </c:pt>
                <c:pt idx="3">
                  <c:v>City4</c:v>
                </c:pt>
                <c:pt idx="4">
                  <c:v>City5</c:v>
                </c:pt>
                <c:pt idx="6">
                  <c:v>City1</c:v>
                </c:pt>
                <c:pt idx="7">
                  <c:v>City2</c:v>
                </c:pt>
                <c:pt idx="8">
                  <c:v>City3</c:v>
                </c:pt>
                <c:pt idx="9">
                  <c:v>City4</c:v>
                </c:pt>
                <c:pt idx="10">
                  <c:v>City5</c:v>
                </c:pt>
                <c:pt idx="11">
                  <c:v>City6</c:v>
                </c:pt>
                <c:pt idx="12">
                  <c:v>City7</c:v>
                </c:pt>
                <c:pt idx="13">
                  <c:v>City8</c:v>
                </c:pt>
                <c:pt idx="14">
                  <c:v>City9</c:v>
                </c:pt>
                <c:pt idx="15">
                  <c:v>City10</c:v>
                </c:pt>
              </c:strCache>
            </c:strRef>
          </c:cat>
          <c:val>
            <c:numRef>
              <c:f>Sheet1!$B$2:$B$17</c:f>
              <c:numCache>
                <c:formatCode>0.0%</c:formatCode>
                <c:ptCount val="16"/>
                <c:pt idx="0">
                  <c:v>0.05</c:v>
                </c:pt>
                <c:pt idx="1">
                  <c:v>0.05</c:v>
                </c:pt>
                <c:pt idx="2">
                  <c:v>0.05</c:v>
                </c:pt>
                <c:pt idx="3">
                  <c:v>0.05</c:v>
                </c:pt>
                <c:pt idx="4">
                  <c:v>0.05</c:v>
                </c:pt>
                <c:pt idx="6">
                  <c:v>0.05</c:v>
                </c:pt>
                <c:pt idx="7">
                  <c:v>0.05</c:v>
                </c:pt>
                <c:pt idx="8">
                  <c:v>0.05</c:v>
                </c:pt>
                <c:pt idx="9">
                  <c:v>0.05</c:v>
                </c:pt>
                <c:pt idx="10">
                  <c:v>0.05</c:v>
                </c:pt>
                <c:pt idx="11">
                  <c:v>0.05</c:v>
                </c:pt>
                <c:pt idx="12">
                  <c:v>0.05</c:v>
                </c:pt>
                <c:pt idx="13">
                  <c:v>0.05</c:v>
                </c:pt>
                <c:pt idx="14">
                  <c:v>0.05</c:v>
                </c:pt>
                <c:pt idx="15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4C9-4DAF-A534-A3B6A4705B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417569576"/>
        <c:axId val="417560560"/>
      </c:barChart>
      <c:lineChart>
        <c:grouping val="standard"/>
        <c:varyColors val="0"/>
        <c:ser>
          <c:idx val="4"/>
          <c:order val="4"/>
          <c:tx>
            <c:strRef>
              <c:f>Sheet1!$F$1</c:f>
              <c:strCache>
                <c:ptCount val="1"/>
                <c:pt idx="0">
                  <c:v>EV_Int Prod</c:v>
                </c:pt>
              </c:strCache>
            </c:strRef>
          </c:tx>
          <c:spPr>
            <a:ln w="19050">
              <a:solidFill>
                <a:srgbClr val="C00000"/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rgbClr val="C00000"/>
                </a:solidFill>
              </a:ln>
            </c:spPr>
          </c:marker>
          <c:cat>
            <c:strRef>
              <c:f>Sheet1!$A$2:$A$17</c:f>
              <c:strCache>
                <c:ptCount val="16"/>
                <c:pt idx="0">
                  <c:v>City1</c:v>
                </c:pt>
                <c:pt idx="1">
                  <c:v>City2</c:v>
                </c:pt>
                <c:pt idx="2">
                  <c:v>City3</c:v>
                </c:pt>
                <c:pt idx="3">
                  <c:v>City4</c:v>
                </c:pt>
                <c:pt idx="4">
                  <c:v>City5</c:v>
                </c:pt>
                <c:pt idx="6">
                  <c:v>City1</c:v>
                </c:pt>
                <c:pt idx="7">
                  <c:v>City2</c:v>
                </c:pt>
                <c:pt idx="8">
                  <c:v>City3</c:v>
                </c:pt>
                <c:pt idx="9">
                  <c:v>City4</c:v>
                </c:pt>
                <c:pt idx="10">
                  <c:v>City5</c:v>
                </c:pt>
                <c:pt idx="11">
                  <c:v>City6</c:v>
                </c:pt>
                <c:pt idx="12">
                  <c:v>City7</c:v>
                </c:pt>
                <c:pt idx="13">
                  <c:v>City8</c:v>
                </c:pt>
                <c:pt idx="14">
                  <c:v>City9</c:v>
                </c:pt>
                <c:pt idx="15">
                  <c:v>City10</c:v>
                </c:pt>
              </c:strCache>
            </c:strRef>
          </c:cat>
          <c:val>
            <c:numRef>
              <c:f>Sheet1!$F$2:$F$17</c:f>
              <c:numCache>
                <c:formatCode>0</c:formatCode>
                <c:ptCount val="16"/>
                <c:pt idx="0">
                  <c:v>100</c:v>
                </c:pt>
                <c:pt idx="1">
                  <c:v>101</c:v>
                </c:pt>
                <c:pt idx="2">
                  <c:v>102</c:v>
                </c:pt>
                <c:pt idx="3">
                  <c:v>103</c:v>
                </c:pt>
                <c:pt idx="4">
                  <c:v>104</c:v>
                </c:pt>
                <c:pt idx="6">
                  <c:v>101</c:v>
                </c:pt>
                <c:pt idx="7">
                  <c:v>102</c:v>
                </c:pt>
                <c:pt idx="8">
                  <c:v>103</c:v>
                </c:pt>
                <c:pt idx="9">
                  <c:v>104</c:v>
                </c:pt>
                <c:pt idx="10">
                  <c:v>100</c:v>
                </c:pt>
                <c:pt idx="11">
                  <c:v>101</c:v>
                </c:pt>
                <c:pt idx="12">
                  <c:v>102</c:v>
                </c:pt>
                <c:pt idx="13">
                  <c:v>103</c:v>
                </c:pt>
                <c:pt idx="14">
                  <c:v>104</c:v>
                </c:pt>
                <c:pt idx="15">
                  <c:v>1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4C9-4DAF-A534-A3B6A4705BA0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EV_Competitor1</c:v>
                </c:pt>
              </c:strCache>
            </c:strRef>
          </c:tx>
          <c:spPr>
            <a:ln w="19050">
              <a:solidFill>
                <a:schemeClr val="accent1">
                  <a:lumMod val="75000"/>
                </a:schemeClr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1">
                    <a:lumMod val="75000"/>
                  </a:schemeClr>
                </a:solidFill>
              </a:ln>
            </c:spPr>
          </c:marker>
          <c:cat>
            <c:strRef>
              <c:f>Sheet1!$A$2:$A$17</c:f>
              <c:strCache>
                <c:ptCount val="16"/>
                <c:pt idx="0">
                  <c:v>City1</c:v>
                </c:pt>
                <c:pt idx="1">
                  <c:v>City2</c:v>
                </c:pt>
                <c:pt idx="2">
                  <c:v>City3</c:v>
                </c:pt>
                <c:pt idx="3">
                  <c:v>City4</c:v>
                </c:pt>
                <c:pt idx="4">
                  <c:v>City5</c:v>
                </c:pt>
                <c:pt idx="6">
                  <c:v>City1</c:v>
                </c:pt>
                <c:pt idx="7">
                  <c:v>City2</c:v>
                </c:pt>
                <c:pt idx="8">
                  <c:v>City3</c:v>
                </c:pt>
                <c:pt idx="9">
                  <c:v>City4</c:v>
                </c:pt>
                <c:pt idx="10">
                  <c:v>City5</c:v>
                </c:pt>
                <c:pt idx="11">
                  <c:v>City6</c:v>
                </c:pt>
                <c:pt idx="12">
                  <c:v>City7</c:v>
                </c:pt>
                <c:pt idx="13">
                  <c:v>City8</c:v>
                </c:pt>
                <c:pt idx="14">
                  <c:v>City9</c:v>
                </c:pt>
                <c:pt idx="15">
                  <c:v>City10</c:v>
                </c:pt>
              </c:strCache>
            </c:strRef>
          </c:cat>
          <c:val>
            <c:numRef>
              <c:f>Sheet1!$G$2:$G$17</c:f>
              <c:numCache>
                <c:formatCode>0</c:formatCode>
                <c:ptCount val="16"/>
                <c:pt idx="0">
                  <c:v>95</c:v>
                </c:pt>
                <c:pt idx="1">
                  <c:v>96</c:v>
                </c:pt>
                <c:pt idx="2">
                  <c:v>97</c:v>
                </c:pt>
                <c:pt idx="3">
                  <c:v>98</c:v>
                </c:pt>
                <c:pt idx="4">
                  <c:v>99</c:v>
                </c:pt>
                <c:pt idx="6">
                  <c:v>96</c:v>
                </c:pt>
                <c:pt idx="7">
                  <c:v>97</c:v>
                </c:pt>
                <c:pt idx="8">
                  <c:v>98</c:v>
                </c:pt>
                <c:pt idx="9">
                  <c:v>99</c:v>
                </c:pt>
                <c:pt idx="10">
                  <c:v>95</c:v>
                </c:pt>
                <c:pt idx="11">
                  <c:v>96</c:v>
                </c:pt>
                <c:pt idx="12">
                  <c:v>97</c:v>
                </c:pt>
                <c:pt idx="13">
                  <c:v>98</c:v>
                </c:pt>
                <c:pt idx="14">
                  <c:v>99</c:v>
                </c:pt>
                <c:pt idx="15">
                  <c:v>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4C9-4DAF-A534-A3B6A4705BA0}"/>
            </c:ext>
          </c:extLst>
        </c:ser>
        <c:ser>
          <c:idx val="7"/>
          <c:order val="6"/>
          <c:tx>
            <c:strRef>
              <c:f>Sheet1!$H$1</c:f>
              <c:strCache>
                <c:ptCount val="1"/>
                <c:pt idx="0">
                  <c:v>EV_Competitor2</c:v>
                </c:pt>
              </c:strCache>
            </c:strRef>
          </c:tx>
          <c:spPr>
            <a:ln w="19050">
              <a:solidFill>
                <a:schemeClr val="accent2">
                  <a:lumMod val="75000"/>
                </a:schemeClr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2">
                    <a:lumMod val="75000"/>
                  </a:schemeClr>
                </a:solidFill>
              </a:ln>
            </c:spPr>
          </c:marker>
          <c:cat>
            <c:strRef>
              <c:f>Sheet1!$A$2:$A$17</c:f>
              <c:strCache>
                <c:ptCount val="16"/>
                <c:pt idx="0">
                  <c:v>City1</c:v>
                </c:pt>
                <c:pt idx="1">
                  <c:v>City2</c:v>
                </c:pt>
                <c:pt idx="2">
                  <c:v>City3</c:v>
                </c:pt>
                <c:pt idx="3">
                  <c:v>City4</c:v>
                </c:pt>
                <c:pt idx="4">
                  <c:v>City5</c:v>
                </c:pt>
                <c:pt idx="6">
                  <c:v>City1</c:v>
                </c:pt>
                <c:pt idx="7">
                  <c:v>City2</c:v>
                </c:pt>
                <c:pt idx="8">
                  <c:v>City3</c:v>
                </c:pt>
                <c:pt idx="9">
                  <c:v>City4</c:v>
                </c:pt>
                <c:pt idx="10">
                  <c:v>City5</c:v>
                </c:pt>
                <c:pt idx="11">
                  <c:v>City6</c:v>
                </c:pt>
                <c:pt idx="12">
                  <c:v>City7</c:v>
                </c:pt>
                <c:pt idx="13">
                  <c:v>City8</c:v>
                </c:pt>
                <c:pt idx="14">
                  <c:v>City9</c:v>
                </c:pt>
                <c:pt idx="15">
                  <c:v>City10</c:v>
                </c:pt>
              </c:strCache>
            </c:strRef>
          </c:cat>
          <c:val>
            <c:numRef>
              <c:f>Sheet1!$H$2:$H$17</c:f>
              <c:numCache>
                <c:formatCode>0</c:formatCode>
                <c:ptCount val="16"/>
                <c:pt idx="0">
                  <c:v>90</c:v>
                </c:pt>
                <c:pt idx="1">
                  <c:v>90</c:v>
                </c:pt>
                <c:pt idx="2">
                  <c:v>90</c:v>
                </c:pt>
                <c:pt idx="3">
                  <c:v>90</c:v>
                </c:pt>
                <c:pt idx="4">
                  <c:v>90</c:v>
                </c:pt>
                <c:pt idx="6">
                  <c:v>90</c:v>
                </c:pt>
                <c:pt idx="7">
                  <c:v>90</c:v>
                </c:pt>
                <c:pt idx="8">
                  <c:v>90</c:v>
                </c:pt>
                <c:pt idx="9">
                  <c:v>90</c:v>
                </c:pt>
                <c:pt idx="10">
                  <c:v>90</c:v>
                </c:pt>
                <c:pt idx="11">
                  <c:v>90</c:v>
                </c:pt>
                <c:pt idx="12">
                  <c:v>90</c:v>
                </c:pt>
                <c:pt idx="13">
                  <c:v>90</c:v>
                </c:pt>
                <c:pt idx="14">
                  <c:v>90</c:v>
                </c:pt>
                <c:pt idx="15">
                  <c:v>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64C9-4DAF-A534-A3B6A4705B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566440"/>
        <c:axId val="417563696"/>
      </c:lineChart>
      <c:catAx>
        <c:axId val="4175695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417560560"/>
        <c:crosses val="autoZero"/>
        <c:auto val="1"/>
        <c:lblAlgn val="ctr"/>
        <c:lblOffset val="100"/>
        <c:noMultiLvlLbl val="0"/>
      </c:catAx>
      <c:valAx>
        <c:axId val="417560560"/>
        <c:scaling>
          <c:orientation val="minMax"/>
          <c:max val="1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altLang="zh-CN" dirty="0"/>
                  <a:t>Share</a:t>
                </a:r>
                <a:endParaRPr lang="zh-CN" dirty="0"/>
              </a:p>
            </c:rich>
          </c:tx>
          <c:layout>
            <c:manualLayout>
              <c:xMode val="edge"/>
              <c:yMode val="edge"/>
              <c:x val="9.3689986760504509E-2"/>
              <c:y val="3.5400272566550428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417569576"/>
        <c:crosses val="autoZero"/>
        <c:crossBetween val="between"/>
      </c:valAx>
      <c:valAx>
        <c:axId val="417563696"/>
        <c:scaling>
          <c:orientation val="minMax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altLang="zh-CN" dirty="0"/>
                  <a:t>EV</a:t>
                </a:r>
              </a:p>
            </c:rich>
          </c:tx>
          <c:layout>
            <c:manualLayout>
              <c:xMode val="edge"/>
              <c:yMode val="edge"/>
              <c:x val="0.97336863064530732"/>
              <c:y val="3.6121772258864621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#,##0_);[Red]\(#,##0\)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417566440"/>
        <c:crosses val="max"/>
        <c:crossBetween val="between"/>
      </c:valAx>
      <c:catAx>
        <c:axId val="41756644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17563696"/>
        <c:crosses val="autoZero"/>
        <c:auto val="1"/>
        <c:lblAlgn val="ctr"/>
        <c:lblOffset val="100"/>
        <c:noMultiLvlLbl val="0"/>
      </c:cat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/>
          <a:lstStyle/>
          <a:p>
            <a:pPr rtl="0">
              <a:defRPr sz="700">
                <a:latin typeface="+mj-lt"/>
              </a:defRPr>
            </a:pPr>
            <a:endParaRPr lang="zh-CN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>
          <a:latin typeface="+mj-lt"/>
        </a:defRPr>
      </a:pPr>
      <a:endParaRPr lang="zh-CN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935858128353424"/>
          <c:y val="3.9855083834041946E-2"/>
          <c:w val="0.79692228183866398"/>
          <c:h val="0.57233383896320866"/>
        </c:manualLayout>
      </c:layout>
      <c:barChart>
        <c:barDir val="col"/>
        <c:grouping val="stacked"/>
        <c:varyColors val="0"/>
        <c:ser>
          <c:idx val="3"/>
          <c:order val="0"/>
          <c:tx>
            <c:strRef>
              <c:f>Sheet1!$E$1</c:f>
              <c:strCache>
                <c:ptCount val="1"/>
                <c:pt idx="0">
                  <c:v>Others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6350">
              <a:solidFill>
                <a:schemeClr val="bg1"/>
              </a:solidFill>
              <a:prstDash val="solid"/>
            </a:ln>
          </c:spPr>
          <c:invertIfNegative val="0"/>
          <c:cat>
            <c:strRef>
              <c:f>Sheet1!$A$2:$A$17</c:f>
              <c:strCache>
                <c:ptCount val="16"/>
                <c:pt idx="0">
                  <c:v>City1</c:v>
                </c:pt>
                <c:pt idx="1">
                  <c:v>City2</c:v>
                </c:pt>
                <c:pt idx="2">
                  <c:v>City3</c:v>
                </c:pt>
                <c:pt idx="3">
                  <c:v>City4</c:v>
                </c:pt>
                <c:pt idx="4">
                  <c:v>City5</c:v>
                </c:pt>
                <c:pt idx="6">
                  <c:v>City1</c:v>
                </c:pt>
                <c:pt idx="7">
                  <c:v>City2</c:v>
                </c:pt>
                <c:pt idx="8">
                  <c:v>City3</c:v>
                </c:pt>
                <c:pt idx="9">
                  <c:v>City4</c:v>
                </c:pt>
                <c:pt idx="10">
                  <c:v>City5</c:v>
                </c:pt>
                <c:pt idx="11">
                  <c:v>City6</c:v>
                </c:pt>
                <c:pt idx="12">
                  <c:v>City7</c:v>
                </c:pt>
                <c:pt idx="13">
                  <c:v>City8</c:v>
                </c:pt>
                <c:pt idx="14">
                  <c:v>City9</c:v>
                </c:pt>
                <c:pt idx="15">
                  <c:v>City10</c:v>
                </c:pt>
              </c:strCache>
            </c:strRef>
          </c:cat>
          <c:val>
            <c:numRef>
              <c:f>Sheet1!$E$2:$E$17</c:f>
              <c:numCache>
                <c:formatCode>0.0%</c:formatCode>
                <c:ptCount val="16"/>
                <c:pt idx="0">
                  <c:v>0.81</c:v>
                </c:pt>
                <c:pt idx="1">
                  <c:v>0.81</c:v>
                </c:pt>
                <c:pt idx="2">
                  <c:v>0.81</c:v>
                </c:pt>
                <c:pt idx="3">
                  <c:v>0.81</c:v>
                </c:pt>
                <c:pt idx="4">
                  <c:v>0.81</c:v>
                </c:pt>
                <c:pt idx="6">
                  <c:v>0.81</c:v>
                </c:pt>
                <c:pt idx="7">
                  <c:v>0.81</c:v>
                </c:pt>
                <c:pt idx="8">
                  <c:v>0.81</c:v>
                </c:pt>
                <c:pt idx="9">
                  <c:v>0.81</c:v>
                </c:pt>
                <c:pt idx="10">
                  <c:v>0.81</c:v>
                </c:pt>
                <c:pt idx="11">
                  <c:v>0.81</c:v>
                </c:pt>
                <c:pt idx="12">
                  <c:v>0.81</c:v>
                </c:pt>
                <c:pt idx="13">
                  <c:v>0.81</c:v>
                </c:pt>
                <c:pt idx="14">
                  <c:v>0.81</c:v>
                </c:pt>
                <c:pt idx="15">
                  <c:v>0.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61-4981-9012-34C4C48D9E75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Competitor2</c:v>
                </c:pt>
              </c:strCache>
            </c:strRef>
          </c:tx>
          <c:spPr>
            <a:solidFill>
              <a:schemeClr val="accent2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17</c:f>
              <c:strCache>
                <c:ptCount val="16"/>
                <c:pt idx="0">
                  <c:v>City1</c:v>
                </c:pt>
                <c:pt idx="1">
                  <c:v>City2</c:v>
                </c:pt>
                <c:pt idx="2">
                  <c:v>City3</c:v>
                </c:pt>
                <c:pt idx="3">
                  <c:v>City4</c:v>
                </c:pt>
                <c:pt idx="4">
                  <c:v>City5</c:v>
                </c:pt>
                <c:pt idx="6">
                  <c:v>City1</c:v>
                </c:pt>
                <c:pt idx="7">
                  <c:v>City2</c:v>
                </c:pt>
                <c:pt idx="8">
                  <c:v>City3</c:v>
                </c:pt>
                <c:pt idx="9">
                  <c:v>City4</c:v>
                </c:pt>
                <c:pt idx="10">
                  <c:v>City5</c:v>
                </c:pt>
                <c:pt idx="11">
                  <c:v>City6</c:v>
                </c:pt>
                <c:pt idx="12">
                  <c:v>City7</c:v>
                </c:pt>
                <c:pt idx="13">
                  <c:v>City8</c:v>
                </c:pt>
                <c:pt idx="14">
                  <c:v>City9</c:v>
                </c:pt>
                <c:pt idx="15">
                  <c:v>City10</c:v>
                </c:pt>
              </c:strCache>
            </c:strRef>
          </c:cat>
          <c:val>
            <c:numRef>
              <c:f>Sheet1!$D$2:$D$17</c:f>
              <c:numCache>
                <c:formatCode>0.0%</c:formatCode>
                <c:ptCount val="16"/>
                <c:pt idx="0">
                  <c:v>0.06</c:v>
                </c:pt>
                <c:pt idx="1">
                  <c:v>0.06</c:v>
                </c:pt>
                <c:pt idx="2">
                  <c:v>0.06</c:v>
                </c:pt>
                <c:pt idx="3">
                  <c:v>0.06</c:v>
                </c:pt>
                <c:pt idx="4">
                  <c:v>0.06</c:v>
                </c:pt>
                <c:pt idx="6">
                  <c:v>0.06</c:v>
                </c:pt>
                <c:pt idx="7">
                  <c:v>0.06</c:v>
                </c:pt>
                <c:pt idx="8">
                  <c:v>0.06</c:v>
                </c:pt>
                <c:pt idx="9">
                  <c:v>0.06</c:v>
                </c:pt>
                <c:pt idx="10">
                  <c:v>0.06</c:v>
                </c:pt>
                <c:pt idx="11">
                  <c:v>0.06</c:v>
                </c:pt>
                <c:pt idx="12">
                  <c:v>0.06</c:v>
                </c:pt>
                <c:pt idx="13">
                  <c:v>0.06</c:v>
                </c:pt>
                <c:pt idx="14">
                  <c:v>0.06</c:v>
                </c:pt>
                <c:pt idx="15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161-4981-9012-34C4C48D9E75}"/>
            </c:ext>
          </c:extLst>
        </c:ser>
        <c:ser>
          <c:idx val="1"/>
          <c:order val="2"/>
          <c:tx>
            <c:strRef>
              <c:f>Sheet1!$C$1</c:f>
              <c:strCache>
                <c:ptCount val="1"/>
                <c:pt idx="0">
                  <c:v>Competitor1</c:v>
                </c:pt>
              </c:strCache>
            </c:strRef>
          </c:tx>
          <c:spPr>
            <a:solidFill>
              <a:schemeClr val="accent1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17</c:f>
              <c:strCache>
                <c:ptCount val="16"/>
                <c:pt idx="0">
                  <c:v>City1</c:v>
                </c:pt>
                <c:pt idx="1">
                  <c:v>City2</c:v>
                </c:pt>
                <c:pt idx="2">
                  <c:v>City3</c:v>
                </c:pt>
                <c:pt idx="3">
                  <c:v>City4</c:v>
                </c:pt>
                <c:pt idx="4">
                  <c:v>City5</c:v>
                </c:pt>
                <c:pt idx="6">
                  <c:v>City1</c:v>
                </c:pt>
                <c:pt idx="7">
                  <c:v>City2</c:v>
                </c:pt>
                <c:pt idx="8">
                  <c:v>City3</c:v>
                </c:pt>
                <c:pt idx="9">
                  <c:v>City4</c:v>
                </c:pt>
                <c:pt idx="10">
                  <c:v>City5</c:v>
                </c:pt>
                <c:pt idx="11">
                  <c:v>City6</c:v>
                </c:pt>
                <c:pt idx="12">
                  <c:v>City7</c:v>
                </c:pt>
                <c:pt idx="13">
                  <c:v>City8</c:v>
                </c:pt>
                <c:pt idx="14">
                  <c:v>City9</c:v>
                </c:pt>
                <c:pt idx="15">
                  <c:v>City10</c:v>
                </c:pt>
              </c:strCache>
            </c:strRef>
          </c:cat>
          <c:val>
            <c:numRef>
              <c:f>Sheet1!$C$2:$C$17</c:f>
              <c:numCache>
                <c:formatCode>0.0%</c:formatCode>
                <c:ptCount val="16"/>
                <c:pt idx="0">
                  <c:v>0.08</c:v>
                </c:pt>
                <c:pt idx="1">
                  <c:v>0.08</c:v>
                </c:pt>
                <c:pt idx="2">
                  <c:v>0.08</c:v>
                </c:pt>
                <c:pt idx="3">
                  <c:v>0.08</c:v>
                </c:pt>
                <c:pt idx="4">
                  <c:v>0.08</c:v>
                </c:pt>
                <c:pt idx="6">
                  <c:v>0.08</c:v>
                </c:pt>
                <c:pt idx="7">
                  <c:v>0.08</c:v>
                </c:pt>
                <c:pt idx="8">
                  <c:v>0.08</c:v>
                </c:pt>
                <c:pt idx="9">
                  <c:v>0.08</c:v>
                </c:pt>
                <c:pt idx="10">
                  <c:v>0.08</c:v>
                </c:pt>
                <c:pt idx="11">
                  <c:v>0.08</c:v>
                </c:pt>
                <c:pt idx="12">
                  <c:v>0.08</c:v>
                </c:pt>
                <c:pt idx="13">
                  <c:v>0.08</c:v>
                </c:pt>
                <c:pt idx="14">
                  <c:v>0.08</c:v>
                </c:pt>
                <c:pt idx="15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161-4981-9012-34C4C48D9E75}"/>
            </c:ext>
          </c:extLst>
        </c:ser>
        <c:ser>
          <c:idx val="0"/>
          <c:order val="3"/>
          <c:tx>
            <c:strRef>
              <c:f>Sheet1!$B$1</c:f>
              <c:strCache>
                <c:ptCount val="1"/>
                <c:pt idx="0">
                  <c:v>Int Prod</c:v>
                </c:pt>
              </c:strCache>
            </c:strRef>
          </c:tx>
          <c:spPr>
            <a:solidFill>
              <a:srgbClr val="FF0000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17</c:f>
              <c:strCache>
                <c:ptCount val="16"/>
                <c:pt idx="0">
                  <c:v>City1</c:v>
                </c:pt>
                <c:pt idx="1">
                  <c:v>City2</c:v>
                </c:pt>
                <c:pt idx="2">
                  <c:v>City3</c:v>
                </c:pt>
                <c:pt idx="3">
                  <c:v>City4</c:v>
                </c:pt>
                <c:pt idx="4">
                  <c:v>City5</c:v>
                </c:pt>
                <c:pt idx="6">
                  <c:v>City1</c:v>
                </c:pt>
                <c:pt idx="7">
                  <c:v>City2</c:v>
                </c:pt>
                <c:pt idx="8">
                  <c:v>City3</c:v>
                </c:pt>
                <c:pt idx="9">
                  <c:v>City4</c:v>
                </c:pt>
                <c:pt idx="10">
                  <c:v>City5</c:v>
                </c:pt>
                <c:pt idx="11">
                  <c:v>City6</c:v>
                </c:pt>
                <c:pt idx="12">
                  <c:v>City7</c:v>
                </c:pt>
                <c:pt idx="13">
                  <c:v>City8</c:v>
                </c:pt>
                <c:pt idx="14">
                  <c:v>City9</c:v>
                </c:pt>
                <c:pt idx="15">
                  <c:v>City10</c:v>
                </c:pt>
              </c:strCache>
            </c:strRef>
          </c:cat>
          <c:val>
            <c:numRef>
              <c:f>Sheet1!$B$2:$B$17</c:f>
              <c:numCache>
                <c:formatCode>0.0%</c:formatCode>
                <c:ptCount val="16"/>
                <c:pt idx="0">
                  <c:v>0.05</c:v>
                </c:pt>
                <c:pt idx="1">
                  <c:v>0.05</c:v>
                </c:pt>
                <c:pt idx="2">
                  <c:v>0.05</c:v>
                </c:pt>
                <c:pt idx="3">
                  <c:v>0.05</c:v>
                </c:pt>
                <c:pt idx="4">
                  <c:v>0.05</c:v>
                </c:pt>
                <c:pt idx="6">
                  <c:v>0.05</c:v>
                </c:pt>
                <c:pt idx="7">
                  <c:v>0.05</c:v>
                </c:pt>
                <c:pt idx="8">
                  <c:v>0.05</c:v>
                </c:pt>
                <c:pt idx="9">
                  <c:v>0.05</c:v>
                </c:pt>
                <c:pt idx="10">
                  <c:v>0.05</c:v>
                </c:pt>
                <c:pt idx="11">
                  <c:v>0.05</c:v>
                </c:pt>
                <c:pt idx="12">
                  <c:v>0.05</c:v>
                </c:pt>
                <c:pt idx="13">
                  <c:v>0.05</c:v>
                </c:pt>
                <c:pt idx="14">
                  <c:v>0.05</c:v>
                </c:pt>
                <c:pt idx="15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161-4981-9012-34C4C48D9E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417564480"/>
        <c:axId val="417560952"/>
      </c:barChart>
      <c:lineChart>
        <c:grouping val="standard"/>
        <c:varyColors val="0"/>
        <c:ser>
          <c:idx val="4"/>
          <c:order val="4"/>
          <c:tx>
            <c:strRef>
              <c:f>Sheet1!$F$1</c:f>
              <c:strCache>
                <c:ptCount val="1"/>
                <c:pt idx="0">
                  <c:v>EV_Int Prod</c:v>
                </c:pt>
              </c:strCache>
            </c:strRef>
          </c:tx>
          <c:spPr>
            <a:ln w="19050">
              <a:solidFill>
                <a:srgbClr val="C00000"/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rgbClr val="C00000"/>
                </a:solidFill>
              </a:ln>
            </c:spPr>
          </c:marker>
          <c:cat>
            <c:strRef>
              <c:f>Sheet1!$A$2:$A$17</c:f>
              <c:strCache>
                <c:ptCount val="16"/>
                <c:pt idx="0">
                  <c:v>City1</c:v>
                </c:pt>
                <c:pt idx="1">
                  <c:v>City2</c:v>
                </c:pt>
                <c:pt idx="2">
                  <c:v>City3</c:v>
                </c:pt>
                <c:pt idx="3">
                  <c:v>City4</c:v>
                </c:pt>
                <c:pt idx="4">
                  <c:v>City5</c:v>
                </c:pt>
                <c:pt idx="6">
                  <c:v>City1</c:v>
                </c:pt>
                <c:pt idx="7">
                  <c:v>City2</c:v>
                </c:pt>
                <c:pt idx="8">
                  <c:v>City3</c:v>
                </c:pt>
                <c:pt idx="9">
                  <c:v>City4</c:v>
                </c:pt>
                <c:pt idx="10">
                  <c:v>City5</c:v>
                </c:pt>
                <c:pt idx="11">
                  <c:v>City6</c:v>
                </c:pt>
                <c:pt idx="12">
                  <c:v>City7</c:v>
                </c:pt>
                <c:pt idx="13">
                  <c:v>City8</c:v>
                </c:pt>
                <c:pt idx="14">
                  <c:v>City9</c:v>
                </c:pt>
                <c:pt idx="15">
                  <c:v>City10</c:v>
                </c:pt>
              </c:strCache>
            </c:strRef>
          </c:cat>
          <c:val>
            <c:numRef>
              <c:f>Sheet1!$F$2:$F$17</c:f>
              <c:numCache>
                <c:formatCode>0</c:formatCode>
                <c:ptCount val="16"/>
                <c:pt idx="0">
                  <c:v>100</c:v>
                </c:pt>
                <c:pt idx="1">
                  <c:v>101</c:v>
                </c:pt>
                <c:pt idx="2">
                  <c:v>102</c:v>
                </c:pt>
                <c:pt idx="3">
                  <c:v>103</c:v>
                </c:pt>
                <c:pt idx="4">
                  <c:v>104</c:v>
                </c:pt>
                <c:pt idx="6">
                  <c:v>101</c:v>
                </c:pt>
                <c:pt idx="7">
                  <c:v>102</c:v>
                </c:pt>
                <c:pt idx="8">
                  <c:v>103</c:v>
                </c:pt>
                <c:pt idx="9">
                  <c:v>104</c:v>
                </c:pt>
                <c:pt idx="10">
                  <c:v>100</c:v>
                </c:pt>
                <c:pt idx="11">
                  <c:v>101</c:v>
                </c:pt>
                <c:pt idx="12">
                  <c:v>102</c:v>
                </c:pt>
                <c:pt idx="13">
                  <c:v>103</c:v>
                </c:pt>
                <c:pt idx="14">
                  <c:v>104</c:v>
                </c:pt>
                <c:pt idx="15">
                  <c:v>1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161-4981-9012-34C4C48D9E75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EV_Competitor1</c:v>
                </c:pt>
              </c:strCache>
            </c:strRef>
          </c:tx>
          <c:spPr>
            <a:ln w="19050">
              <a:solidFill>
                <a:schemeClr val="accent1">
                  <a:lumMod val="75000"/>
                </a:schemeClr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1">
                    <a:lumMod val="75000"/>
                  </a:schemeClr>
                </a:solidFill>
              </a:ln>
            </c:spPr>
          </c:marker>
          <c:cat>
            <c:strRef>
              <c:f>Sheet1!$A$2:$A$17</c:f>
              <c:strCache>
                <c:ptCount val="16"/>
                <c:pt idx="0">
                  <c:v>City1</c:v>
                </c:pt>
                <c:pt idx="1">
                  <c:v>City2</c:v>
                </c:pt>
                <c:pt idx="2">
                  <c:v>City3</c:v>
                </c:pt>
                <c:pt idx="3">
                  <c:v>City4</c:v>
                </c:pt>
                <c:pt idx="4">
                  <c:v>City5</c:v>
                </c:pt>
                <c:pt idx="6">
                  <c:v>City1</c:v>
                </c:pt>
                <c:pt idx="7">
                  <c:v>City2</c:v>
                </c:pt>
                <c:pt idx="8">
                  <c:v>City3</c:v>
                </c:pt>
                <c:pt idx="9">
                  <c:v>City4</c:v>
                </c:pt>
                <c:pt idx="10">
                  <c:v>City5</c:v>
                </c:pt>
                <c:pt idx="11">
                  <c:v>City6</c:v>
                </c:pt>
                <c:pt idx="12">
                  <c:v>City7</c:v>
                </c:pt>
                <c:pt idx="13">
                  <c:v>City8</c:v>
                </c:pt>
                <c:pt idx="14">
                  <c:v>City9</c:v>
                </c:pt>
                <c:pt idx="15">
                  <c:v>City10</c:v>
                </c:pt>
              </c:strCache>
            </c:strRef>
          </c:cat>
          <c:val>
            <c:numRef>
              <c:f>Sheet1!$G$2:$G$17</c:f>
              <c:numCache>
                <c:formatCode>0</c:formatCode>
                <c:ptCount val="16"/>
                <c:pt idx="0">
                  <c:v>95</c:v>
                </c:pt>
                <c:pt idx="1">
                  <c:v>96</c:v>
                </c:pt>
                <c:pt idx="2">
                  <c:v>97</c:v>
                </c:pt>
                <c:pt idx="3">
                  <c:v>98</c:v>
                </c:pt>
                <c:pt idx="4">
                  <c:v>99</c:v>
                </c:pt>
                <c:pt idx="6">
                  <c:v>96</c:v>
                </c:pt>
                <c:pt idx="7">
                  <c:v>97</c:v>
                </c:pt>
                <c:pt idx="8">
                  <c:v>98</c:v>
                </c:pt>
                <c:pt idx="9">
                  <c:v>99</c:v>
                </c:pt>
                <c:pt idx="10">
                  <c:v>95</c:v>
                </c:pt>
                <c:pt idx="11">
                  <c:v>96</c:v>
                </c:pt>
                <c:pt idx="12">
                  <c:v>97</c:v>
                </c:pt>
                <c:pt idx="13">
                  <c:v>98</c:v>
                </c:pt>
                <c:pt idx="14">
                  <c:v>99</c:v>
                </c:pt>
                <c:pt idx="15">
                  <c:v>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161-4981-9012-34C4C48D9E75}"/>
            </c:ext>
          </c:extLst>
        </c:ser>
        <c:ser>
          <c:idx val="7"/>
          <c:order val="6"/>
          <c:tx>
            <c:strRef>
              <c:f>Sheet1!$H$1</c:f>
              <c:strCache>
                <c:ptCount val="1"/>
                <c:pt idx="0">
                  <c:v>EV_Competitor2</c:v>
                </c:pt>
              </c:strCache>
            </c:strRef>
          </c:tx>
          <c:spPr>
            <a:ln w="19050">
              <a:solidFill>
                <a:schemeClr val="accent2">
                  <a:lumMod val="75000"/>
                </a:schemeClr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2">
                    <a:lumMod val="75000"/>
                  </a:schemeClr>
                </a:solidFill>
              </a:ln>
            </c:spPr>
          </c:marker>
          <c:cat>
            <c:strRef>
              <c:f>Sheet1!$A$2:$A$17</c:f>
              <c:strCache>
                <c:ptCount val="16"/>
                <c:pt idx="0">
                  <c:v>City1</c:v>
                </c:pt>
                <c:pt idx="1">
                  <c:v>City2</c:v>
                </c:pt>
                <c:pt idx="2">
                  <c:v>City3</c:v>
                </c:pt>
                <c:pt idx="3">
                  <c:v>City4</c:v>
                </c:pt>
                <c:pt idx="4">
                  <c:v>City5</c:v>
                </c:pt>
                <c:pt idx="6">
                  <c:v>City1</c:v>
                </c:pt>
                <c:pt idx="7">
                  <c:v>City2</c:v>
                </c:pt>
                <c:pt idx="8">
                  <c:v>City3</c:v>
                </c:pt>
                <c:pt idx="9">
                  <c:v>City4</c:v>
                </c:pt>
                <c:pt idx="10">
                  <c:v>City5</c:v>
                </c:pt>
                <c:pt idx="11">
                  <c:v>City6</c:v>
                </c:pt>
                <c:pt idx="12">
                  <c:v>City7</c:v>
                </c:pt>
                <c:pt idx="13">
                  <c:v>City8</c:v>
                </c:pt>
                <c:pt idx="14">
                  <c:v>City9</c:v>
                </c:pt>
                <c:pt idx="15">
                  <c:v>City10</c:v>
                </c:pt>
              </c:strCache>
            </c:strRef>
          </c:cat>
          <c:val>
            <c:numRef>
              <c:f>Sheet1!$H$2:$H$17</c:f>
              <c:numCache>
                <c:formatCode>0</c:formatCode>
                <c:ptCount val="16"/>
                <c:pt idx="0">
                  <c:v>90</c:v>
                </c:pt>
                <c:pt idx="1">
                  <c:v>90</c:v>
                </c:pt>
                <c:pt idx="2">
                  <c:v>90</c:v>
                </c:pt>
                <c:pt idx="3">
                  <c:v>90</c:v>
                </c:pt>
                <c:pt idx="4">
                  <c:v>90</c:v>
                </c:pt>
                <c:pt idx="6">
                  <c:v>90</c:v>
                </c:pt>
                <c:pt idx="7">
                  <c:v>90</c:v>
                </c:pt>
                <c:pt idx="8">
                  <c:v>90</c:v>
                </c:pt>
                <c:pt idx="9">
                  <c:v>90</c:v>
                </c:pt>
                <c:pt idx="10">
                  <c:v>90</c:v>
                </c:pt>
                <c:pt idx="11">
                  <c:v>90</c:v>
                </c:pt>
                <c:pt idx="12">
                  <c:v>90</c:v>
                </c:pt>
                <c:pt idx="13">
                  <c:v>90</c:v>
                </c:pt>
                <c:pt idx="14">
                  <c:v>90</c:v>
                </c:pt>
                <c:pt idx="15">
                  <c:v>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3161-4981-9012-34C4C48D9E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570360"/>
        <c:axId val="417567616"/>
      </c:lineChart>
      <c:catAx>
        <c:axId val="417564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417560952"/>
        <c:crosses val="autoZero"/>
        <c:auto val="1"/>
        <c:lblAlgn val="ctr"/>
        <c:lblOffset val="100"/>
        <c:noMultiLvlLbl val="0"/>
      </c:catAx>
      <c:valAx>
        <c:axId val="417560952"/>
        <c:scaling>
          <c:orientation val="minMax"/>
          <c:max val="1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altLang="zh-CN" dirty="0"/>
                  <a:t>Share</a:t>
                </a:r>
                <a:endParaRPr lang="zh-CN" dirty="0"/>
              </a:p>
            </c:rich>
          </c:tx>
          <c:layout>
            <c:manualLayout>
              <c:xMode val="edge"/>
              <c:yMode val="edge"/>
              <c:x val="9.3689986760504509E-2"/>
              <c:y val="3.5400272566550428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417564480"/>
        <c:crosses val="autoZero"/>
        <c:crossBetween val="between"/>
      </c:valAx>
      <c:valAx>
        <c:axId val="417567616"/>
        <c:scaling>
          <c:orientation val="minMax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altLang="zh-CN" dirty="0"/>
                  <a:t>EV</a:t>
                </a:r>
              </a:p>
            </c:rich>
          </c:tx>
          <c:layout>
            <c:manualLayout>
              <c:xMode val="edge"/>
              <c:yMode val="edge"/>
              <c:x val="0.97336863064530732"/>
              <c:y val="3.6121772258864621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#,##0_);[Red]\(#,##0\)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417570360"/>
        <c:crosses val="max"/>
        <c:crossBetween val="between"/>
      </c:valAx>
      <c:catAx>
        <c:axId val="41757036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17567616"/>
        <c:crosses val="autoZero"/>
        <c:auto val="1"/>
        <c:lblAlgn val="ctr"/>
        <c:lblOffset val="100"/>
        <c:noMultiLvlLbl val="0"/>
      </c:cat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/>
          <a:lstStyle/>
          <a:p>
            <a:pPr rtl="0">
              <a:defRPr sz="700">
                <a:latin typeface="+mj-lt"/>
              </a:defRPr>
            </a:pPr>
            <a:endParaRPr lang="zh-CN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>
          <a:latin typeface="+mj-lt"/>
        </a:defRPr>
      </a:pPr>
      <a:endParaRPr lang="zh-CN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935858128353424"/>
          <c:y val="3.9855083834041946E-2"/>
          <c:w val="0.79692228183866398"/>
          <c:h val="0.57233383896320866"/>
        </c:manualLayout>
      </c:layout>
      <c:barChart>
        <c:barDir val="col"/>
        <c:grouping val="stacked"/>
        <c:varyColors val="0"/>
        <c:ser>
          <c:idx val="3"/>
          <c:order val="0"/>
          <c:tx>
            <c:strRef>
              <c:f>Sheet1!$E$1</c:f>
              <c:strCache>
                <c:ptCount val="1"/>
                <c:pt idx="0">
                  <c:v>Others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6350">
              <a:solidFill>
                <a:schemeClr val="bg1"/>
              </a:solidFill>
              <a:prstDash val="solid"/>
            </a:ln>
          </c:spPr>
          <c:invertIfNegative val="0"/>
          <c:cat>
            <c:strRef>
              <c:f>Sheet1!$A$2:$A$28</c:f>
              <c:strCache>
                <c:ptCount val="27"/>
                <c:pt idx="0">
                  <c:v>City1</c:v>
                </c:pt>
                <c:pt idx="1">
                  <c:v>City2</c:v>
                </c:pt>
                <c:pt idx="2">
                  <c:v>City3</c:v>
                </c:pt>
                <c:pt idx="3">
                  <c:v>City4</c:v>
                </c:pt>
                <c:pt idx="4">
                  <c:v>City5</c:v>
                </c:pt>
                <c:pt idx="5">
                  <c:v>City6</c:v>
                </c:pt>
                <c:pt idx="6">
                  <c:v>City7</c:v>
                </c:pt>
                <c:pt idx="7">
                  <c:v>City8</c:v>
                </c:pt>
                <c:pt idx="8">
                  <c:v>City9</c:v>
                </c:pt>
                <c:pt idx="9">
                  <c:v>City10</c:v>
                </c:pt>
                <c:pt idx="10">
                  <c:v>City11</c:v>
                </c:pt>
                <c:pt idx="11">
                  <c:v>City12</c:v>
                </c:pt>
                <c:pt idx="12">
                  <c:v>City13</c:v>
                </c:pt>
                <c:pt idx="13">
                  <c:v>City14</c:v>
                </c:pt>
                <c:pt idx="14">
                  <c:v>City15</c:v>
                </c:pt>
                <c:pt idx="15">
                  <c:v>City16</c:v>
                </c:pt>
                <c:pt idx="16">
                  <c:v>City17</c:v>
                </c:pt>
                <c:pt idx="17">
                  <c:v>City18</c:v>
                </c:pt>
                <c:pt idx="18">
                  <c:v>City19</c:v>
                </c:pt>
                <c:pt idx="19">
                  <c:v>City20</c:v>
                </c:pt>
                <c:pt idx="20">
                  <c:v>City21</c:v>
                </c:pt>
                <c:pt idx="21">
                  <c:v>City22</c:v>
                </c:pt>
                <c:pt idx="22">
                  <c:v>City23</c:v>
                </c:pt>
                <c:pt idx="23">
                  <c:v>City24</c:v>
                </c:pt>
                <c:pt idx="24">
                  <c:v>City25</c:v>
                </c:pt>
                <c:pt idx="25">
                  <c:v>City26</c:v>
                </c:pt>
                <c:pt idx="26">
                  <c:v>City27</c:v>
                </c:pt>
              </c:strCache>
            </c:strRef>
          </c:cat>
          <c:val>
            <c:numRef>
              <c:f>Sheet1!$E$2:$E$28</c:f>
              <c:numCache>
                <c:formatCode>0.0%</c:formatCode>
                <c:ptCount val="27"/>
                <c:pt idx="0">
                  <c:v>0.81</c:v>
                </c:pt>
                <c:pt idx="1">
                  <c:v>0.81</c:v>
                </c:pt>
                <c:pt idx="2">
                  <c:v>0.81</c:v>
                </c:pt>
                <c:pt idx="3">
                  <c:v>0.81</c:v>
                </c:pt>
                <c:pt idx="4">
                  <c:v>0.81</c:v>
                </c:pt>
                <c:pt idx="5">
                  <c:v>0.81</c:v>
                </c:pt>
                <c:pt idx="6">
                  <c:v>0.81</c:v>
                </c:pt>
                <c:pt idx="7">
                  <c:v>0.81</c:v>
                </c:pt>
                <c:pt idx="8">
                  <c:v>0.81</c:v>
                </c:pt>
                <c:pt idx="9">
                  <c:v>0.81</c:v>
                </c:pt>
                <c:pt idx="10">
                  <c:v>0.81</c:v>
                </c:pt>
                <c:pt idx="11">
                  <c:v>0.81</c:v>
                </c:pt>
                <c:pt idx="12">
                  <c:v>0.81</c:v>
                </c:pt>
                <c:pt idx="13">
                  <c:v>0.81</c:v>
                </c:pt>
                <c:pt idx="14">
                  <c:v>0.81</c:v>
                </c:pt>
                <c:pt idx="15">
                  <c:v>0.81</c:v>
                </c:pt>
                <c:pt idx="16">
                  <c:v>0.81</c:v>
                </c:pt>
                <c:pt idx="17">
                  <c:v>0.81</c:v>
                </c:pt>
                <c:pt idx="18">
                  <c:v>0.81</c:v>
                </c:pt>
                <c:pt idx="19">
                  <c:v>0.81</c:v>
                </c:pt>
                <c:pt idx="20">
                  <c:v>0.81</c:v>
                </c:pt>
                <c:pt idx="21">
                  <c:v>0.81</c:v>
                </c:pt>
                <c:pt idx="22">
                  <c:v>0.81</c:v>
                </c:pt>
                <c:pt idx="23">
                  <c:v>0.81</c:v>
                </c:pt>
                <c:pt idx="24">
                  <c:v>0.81</c:v>
                </c:pt>
                <c:pt idx="25">
                  <c:v>0.81</c:v>
                </c:pt>
                <c:pt idx="26">
                  <c:v>0.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849-4274-8AF5-3682C97A5FFF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Competitor2</c:v>
                </c:pt>
              </c:strCache>
            </c:strRef>
          </c:tx>
          <c:spPr>
            <a:solidFill>
              <a:schemeClr val="accent2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28</c:f>
              <c:strCache>
                <c:ptCount val="27"/>
                <c:pt idx="0">
                  <c:v>City1</c:v>
                </c:pt>
                <c:pt idx="1">
                  <c:v>City2</c:v>
                </c:pt>
                <c:pt idx="2">
                  <c:v>City3</c:v>
                </c:pt>
                <c:pt idx="3">
                  <c:v>City4</c:v>
                </c:pt>
                <c:pt idx="4">
                  <c:v>City5</c:v>
                </c:pt>
                <c:pt idx="5">
                  <c:v>City6</c:v>
                </c:pt>
                <c:pt idx="6">
                  <c:v>City7</c:v>
                </c:pt>
                <c:pt idx="7">
                  <c:v>City8</c:v>
                </c:pt>
                <c:pt idx="8">
                  <c:v>City9</c:v>
                </c:pt>
                <c:pt idx="9">
                  <c:v>City10</c:v>
                </c:pt>
                <c:pt idx="10">
                  <c:v>City11</c:v>
                </c:pt>
                <c:pt idx="11">
                  <c:v>City12</c:v>
                </c:pt>
                <c:pt idx="12">
                  <c:v>City13</c:v>
                </c:pt>
                <c:pt idx="13">
                  <c:v>City14</c:v>
                </c:pt>
                <c:pt idx="14">
                  <c:v>City15</c:v>
                </c:pt>
                <c:pt idx="15">
                  <c:v>City16</c:v>
                </c:pt>
                <c:pt idx="16">
                  <c:v>City17</c:v>
                </c:pt>
                <c:pt idx="17">
                  <c:v>City18</c:v>
                </c:pt>
                <c:pt idx="18">
                  <c:v>City19</c:v>
                </c:pt>
                <c:pt idx="19">
                  <c:v>City20</c:v>
                </c:pt>
                <c:pt idx="20">
                  <c:v>City21</c:v>
                </c:pt>
                <c:pt idx="21">
                  <c:v>City22</c:v>
                </c:pt>
                <c:pt idx="22">
                  <c:v>City23</c:v>
                </c:pt>
                <c:pt idx="23">
                  <c:v>City24</c:v>
                </c:pt>
                <c:pt idx="24">
                  <c:v>City25</c:v>
                </c:pt>
                <c:pt idx="25">
                  <c:v>City26</c:v>
                </c:pt>
                <c:pt idx="26">
                  <c:v>City27</c:v>
                </c:pt>
              </c:strCache>
            </c:strRef>
          </c:cat>
          <c:val>
            <c:numRef>
              <c:f>Sheet1!$D$2:$D$28</c:f>
              <c:numCache>
                <c:formatCode>0.0%</c:formatCode>
                <c:ptCount val="27"/>
                <c:pt idx="0">
                  <c:v>0.06</c:v>
                </c:pt>
                <c:pt idx="1">
                  <c:v>0.06</c:v>
                </c:pt>
                <c:pt idx="2">
                  <c:v>0.06</c:v>
                </c:pt>
                <c:pt idx="3">
                  <c:v>0.06</c:v>
                </c:pt>
                <c:pt idx="4">
                  <c:v>0.06</c:v>
                </c:pt>
                <c:pt idx="5">
                  <c:v>0.06</c:v>
                </c:pt>
                <c:pt idx="6">
                  <c:v>0.06</c:v>
                </c:pt>
                <c:pt idx="7">
                  <c:v>0.06</c:v>
                </c:pt>
                <c:pt idx="8">
                  <c:v>0.06</c:v>
                </c:pt>
                <c:pt idx="9">
                  <c:v>0.06</c:v>
                </c:pt>
                <c:pt idx="10">
                  <c:v>0.06</c:v>
                </c:pt>
                <c:pt idx="11">
                  <c:v>0.06</c:v>
                </c:pt>
                <c:pt idx="12">
                  <c:v>0.06</c:v>
                </c:pt>
                <c:pt idx="13">
                  <c:v>0.06</c:v>
                </c:pt>
                <c:pt idx="14">
                  <c:v>0.06</c:v>
                </c:pt>
                <c:pt idx="15">
                  <c:v>0.06</c:v>
                </c:pt>
                <c:pt idx="16">
                  <c:v>0.06</c:v>
                </c:pt>
                <c:pt idx="17">
                  <c:v>0.06</c:v>
                </c:pt>
                <c:pt idx="18">
                  <c:v>0.06</c:v>
                </c:pt>
                <c:pt idx="19">
                  <c:v>0.06</c:v>
                </c:pt>
                <c:pt idx="20">
                  <c:v>0.06</c:v>
                </c:pt>
                <c:pt idx="21">
                  <c:v>0.06</c:v>
                </c:pt>
                <c:pt idx="22">
                  <c:v>0.06</c:v>
                </c:pt>
                <c:pt idx="23">
                  <c:v>0.06</c:v>
                </c:pt>
                <c:pt idx="24">
                  <c:v>0.06</c:v>
                </c:pt>
                <c:pt idx="25">
                  <c:v>0.06</c:v>
                </c:pt>
                <c:pt idx="26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849-4274-8AF5-3682C97A5FFF}"/>
            </c:ext>
          </c:extLst>
        </c:ser>
        <c:ser>
          <c:idx val="1"/>
          <c:order val="2"/>
          <c:tx>
            <c:strRef>
              <c:f>Sheet1!$C$1</c:f>
              <c:strCache>
                <c:ptCount val="1"/>
                <c:pt idx="0">
                  <c:v>Competitor1</c:v>
                </c:pt>
              </c:strCache>
            </c:strRef>
          </c:tx>
          <c:spPr>
            <a:solidFill>
              <a:schemeClr val="accent1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28</c:f>
              <c:strCache>
                <c:ptCount val="27"/>
                <c:pt idx="0">
                  <c:v>City1</c:v>
                </c:pt>
                <c:pt idx="1">
                  <c:v>City2</c:v>
                </c:pt>
                <c:pt idx="2">
                  <c:v>City3</c:v>
                </c:pt>
                <c:pt idx="3">
                  <c:v>City4</c:v>
                </c:pt>
                <c:pt idx="4">
                  <c:v>City5</c:v>
                </c:pt>
                <c:pt idx="5">
                  <c:v>City6</c:v>
                </c:pt>
                <c:pt idx="6">
                  <c:v>City7</c:v>
                </c:pt>
                <c:pt idx="7">
                  <c:v>City8</c:v>
                </c:pt>
                <c:pt idx="8">
                  <c:v>City9</c:v>
                </c:pt>
                <c:pt idx="9">
                  <c:v>City10</c:v>
                </c:pt>
                <c:pt idx="10">
                  <c:v>City11</c:v>
                </c:pt>
                <c:pt idx="11">
                  <c:v>City12</c:v>
                </c:pt>
                <c:pt idx="12">
                  <c:v>City13</c:v>
                </c:pt>
                <c:pt idx="13">
                  <c:v>City14</c:v>
                </c:pt>
                <c:pt idx="14">
                  <c:v>City15</c:v>
                </c:pt>
                <c:pt idx="15">
                  <c:v>City16</c:v>
                </c:pt>
                <c:pt idx="16">
                  <c:v>City17</c:v>
                </c:pt>
                <c:pt idx="17">
                  <c:v>City18</c:v>
                </c:pt>
                <c:pt idx="18">
                  <c:v>City19</c:v>
                </c:pt>
                <c:pt idx="19">
                  <c:v>City20</c:v>
                </c:pt>
                <c:pt idx="20">
                  <c:v>City21</c:v>
                </c:pt>
                <c:pt idx="21">
                  <c:v>City22</c:v>
                </c:pt>
                <c:pt idx="22">
                  <c:v>City23</c:v>
                </c:pt>
                <c:pt idx="23">
                  <c:v>City24</c:v>
                </c:pt>
                <c:pt idx="24">
                  <c:v>City25</c:v>
                </c:pt>
                <c:pt idx="25">
                  <c:v>City26</c:v>
                </c:pt>
                <c:pt idx="26">
                  <c:v>City27</c:v>
                </c:pt>
              </c:strCache>
            </c:strRef>
          </c:cat>
          <c:val>
            <c:numRef>
              <c:f>Sheet1!$C$2:$C$28</c:f>
              <c:numCache>
                <c:formatCode>0.0%</c:formatCode>
                <c:ptCount val="27"/>
                <c:pt idx="0">
                  <c:v>0.08</c:v>
                </c:pt>
                <c:pt idx="1">
                  <c:v>0.08</c:v>
                </c:pt>
                <c:pt idx="2">
                  <c:v>0.08</c:v>
                </c:pt>
                <c:pt idx="3">
                  <c:v>0.08</c:v>
                </c:pt>
                <c:pt idx="4">
                  <c:v>0.08</c:v>
                </c:pt>
                <c:pt idx="5">
                  <c:v>0.08</c:v>
                </c:pt>
                <c:pt idx="6">
                  <c:v>0.08</c:v>
                </c:pt>
                <c:pt idx="7">
                  <c:v>0.08</c:v>
                </c:pt>
                <c:pt idx="8">
                  <c:v>0.08</c:v>
                </c:pt>
                <c:pt idx="9">
                  <c:v>0.08</c:v>
                </c:pt>
                <c:pt idx="10">
                  <c:v>0.08</c:v>
                </c:pt>
                <c:pt idx="11">
                  <c:v>0.08</c:v>
                </c:pt>
                <c:pt idx="12">
                  <c:v>0.08</c:v>
                </c:pt>
                <c:pt idx="13">
                  <c:v>0.08</c:v>
                </c:pt>
                <c:pt idx="14">
                  <c:v>0.08</c:v>
                </c:pt>
                <c:pt idx="15">
                  <c:v>0.08</c:v>
                </c:pt>
                <c:pt idx="16">
                  <c:v>0.08</c:v>
                </c:pt>
                <c:pt idx="17">
                  <c:v>0.08</c:v>
                </c:pt>
                <c:pt idx="18">
                  <c:v>0.08</c:v>
                </c:pt>
                <c:pt idx="19">
                  <c:v>0.08</c:v>
                </c:pt>
                <c:pt idx="20">
                  <c:v>0.08</c:v>
                </c:pt>
                <c:pt idx="21">
                  <c:v>0.08</c:v>
                </c:pt>
                <c:pt idx="22">
                  <c:v>0.08</c:v>
                </c:pt>
                <c:pt idx="23">
                  <c:v>0.08</c:v>
                </c:pt>
                <c:pt idx="24">
                  <c:v>0.08</c:v>
                </c:pt>
                <c:pt idx="25">
                  <c:v>0.08</c:v>
                </c:pt>
                <c:pt idx="26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849-4274-8AF5-3682C97A5FFF}"/>
            </c:ext>
          </c:extLst>
        </c:ser>
        <c:ser>
          <c:idx val="0"/>
          <c:order val="3"/>
          <c:tx>
            <c:strRef>
              <c:f>Sheet1!$B$1</c:f>
              <c:strCache>
                <c:ptCount val="1"/>
                <c:pt idx="0">
                  <c:v>Int Prod</c:v>
                </c:pt>
              </c:strCache>
            </c:strRef>
          </c:tx>
          <c:spPr>
            <a:solidFill>
              <a:srgbClr val="FF0000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28</c:f>
              <c:strCache>
                <c:ptCount val="27"/>
                <c:pt idx="0">
                  <c:v>City1</c:v>
                </c:pt>
                <c:pt idx="1">
                  <c:v>City2</c:v>
                </c:pt>
                <c:pt idx="2">
                  <c:v>City3</c:v>
                </c:pt>
                <c:pt idx="3">
                  <c:v>City4</c:v>
                </c:pt>
                <c:pt idx="4">
                  <c:v>City5</c:v>
                </c:pt>
                <c:pt idx="5">
                  <c:v>City6</c:v>
                </c:pt>
                <c:pt idx="6">
                  <c:v>City7</c:v>
                </c:pt>
                <c:pt idx="7">
                  <c:v>City8</c:v>
                </c:pt>
                <c:pt idx="8">
                  <c:v>City9</c:v>
                </c:pt>
                <c:pt idx="9">
                  <c:v>City10</c:v>
                </c:pt>
                <c:pt idx="10">
                  <c:v>City11</c:v>
                </c:pt>
                <c:pt idx="11">
                  <c:v>City12</c:v>
                </c:pt>
                <c:pt idx="12">
                  <c:v>City13</c:v>
                </c:pt>
                <c:pt idx="13">
                  <c:v>City14</c:v>
                </c:pt>
                <c:pt idx="14">
                  <c:v>City15</c:v>
                </c:pt>
                <c:pt idx="15">
                  <c:v>City16</c:v>
                </c:pt>
                <c:pt idx="16">
                  <c:v>City17</c:v>
                </c:pt>
                <c:pt idx="17">
                  <c:v>City18</c:v>
                </c:pt>
                <c:pt idx="18">
                  <c:v>City19</c:v>
                </c:pt>
                <c:pt idx="19">
                  <c:v>City20</c:v>
                </c:pt>
                <c:pt idx="20">
                  <c:v>City21</c:v>
                </c:pt>
                <c:pt idx="21">
                  <c:v>City22</c:v>
                </c:pt>
                <c:pt idx="22">
                  <c:v>City23</c:v>
                </c:pt>
                <c:pt idx="23">
                  <c:v>City24</c:v>
                </c:pt>
                <c:pt idx="24">
                  <c:v>City25</c:v>
                </c:pt>
                <c:pt idx="25">
                  <c:v>City26</c:v>
                </c:pt>
                <c:pt idx="26">
                  <c:v>City27</c:v>
                </c:pt>
              </c:strCache>
            </c:strRef>
          </c:cat>
          <c:val>
            <c:numRef>
              <c:f>Sheet1!$B$2:$B$28</c:f>
              <c:numCache>
                <c:formatCode>0.0%</c:formatCode>
                <c:ptCount val="27"/>
                <c:pt idx="0">
                  <c:v>0.05</c:v>
                </c:pt>
                <c:pt idx="1">
                  <c:v>0.05</c:v>
                </c:pt>
                <c:pt idx="2">
                  <c:v>0.05</c:v>
                </c:pt>
                <c:pt idx="3">
                  <c:v>0.05</c:v>
                </c:pt>
                <c:pt idx="4">
                  <c:v>0.05</c:v>
                </c:pt>
                <c:pt idx="5">
                  <c:v>0.05</c:v>
                </c:pt>
                <c:pt idx="6">
                  <c:v>0.05</c:v>
                </c:pt>
                <c:pt idx="7">
                  <c:v>0.05</c:v>
                </c:pt>
                <c:pt idx="8">
                  <c:v>0.05</c:v>
                </c:pt>
                <c:pt idx="9">
                  <c:v>0.05</c:v>
                </c:pt>
                <c:pt idx="10">
                  <c:v>0.05</c:v>
                </c:pt>
                <c:pt idx="11">
                  <c:v>0.05</c:v>
                </c:pt>
                <c:pt idx="12">
                  <c:v>0.05</c:v>
                </c:pt>
                <c:pt idx="13">
                  <c:v>0.05</c:v>
                </c:pt>
                <c:pt idx="14">
                  <c:v>0.05</c:v>
                </c:pt>
                <c:pt idx="15">
                  <c:v>0.05</c:v>
                </c:pt>
                <c:pt idx="16">
                  <c:v>0.05</c:v>
                </c:pt>
                <c:pt idx="17">
                  <c:v>0.05</c:v>
                </c:pt>
                <c:pt idx="18">
                  <c:v>0.05</c:v>
                </c:pt>
                <c:pt idx="19">
                  <c:v>0.05</c:v>
                </c:pt>
                <c:pt idx="20">
                  <c:v>0.05</c:v>
                </c:pt>
                <c:pt idx="21">
                  <c:v>0.05</c:v>
                </c:pt>
                <c:pt idx="22">
                  <c:v>0.05</c:v>
                </c:pt>
                <c:pt idx="23">
                  <c:v>0.05</c:v>
                </c:pt>
                <c:pt idx="24">
                  <c:v>0.05</c:v>
                </c:pt>
                <c:pt idx="25">
                  <c:v>0.05</c:v>
                </c:pt>
                <c:pt idx="26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849-4274-8AF5-3682C97A5F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417570752"/>
        <c:axId val="417561344"/>
      </c:barChart>
      <c:lineChart>
        <c:grouping val="standard"/>
        <c:varyColors val="0"/>
        <c:ser>
          <c:idx val="4"/>
          <c:order val="4"/>
          <c:tx>
            <c:strRef>
              <c:f>Sheet1!$F$1</c:f>
              <c:strCache>
                <c:ptCount val="1"/>
                <c:pt idx="0">
                  <c:v>EV_Int Prod</c:v>
                </c:pt>
              </c:strCache>
            </c:strRef>
          </c:tx>
          <c:spPr>
            <a:ln w="19050">
              <a:solidFill>
                <a:srgbClr val="C00000"/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rgbClr val="C00000"/>
                </a:solidFill>
              </a:ln>
            </c:spPr>
          </c:marker>
          <c:cat>
            <c:strRef>
              <c:f>Sheet1!$A$2:$A$28</c:f>
              <c:strCache>
                <c:ptCount val="27"/>
                <c:pt idx="0">
                  <c:v>City1</c:v>
                </c:pt>
                <c:pt idx="1">
                  <c:v>City2</c:v>
                </c:pt>
                <c:pt idx="2">
                  <c:v>City3</c:v>
                </c:pt>
                <c:pt idx="3">
                  <c:v>City4</c:v>
                </c:pt>
                <c:pt idx="4">
                  <c:v>City5</c:v>
                </c:pt>
                <c:pt idx="5">
                  <c:v>City6</c:v>
                </c:pt>
                <c:pt idx="6">
                  <c:v>City7</c:v>
                </c:pt>
                <c:pt idx="7">
                  <c:v>City8</c:v>
                </c:pt>
                <c:pt idx="8">
                  <c:v>City9</c:v>
                </c:pt>
                <c:pt idx="9">
                  <c:v>City10</c:v>
                </c:pt>
                <c:pt idx="10">
                  <c:v>City11</c:v>
                </c:pt>
                <c:pt idx="11">
                  <c:v>City12</c:v>
                </c:pt>
                <c:pt idx="12">
                  <c:v>City13</c:v>
                </c:pt>
                <c:pt idx="13">
                  <c:v>City14</c:v>
                </c:pt>
                <c:pt idx="14">
                  <c:v>City15</c:v>
                </c:pt>
                <c:pt idx="15">
                  <c:v>City16</c:v>
                </c:pt>
                <c:pt idx="16">
                  <c:v>City17</c:v>
                </c:pt>
                <c:pt idx="17">
                  <c:v>City18</c:v>
                </c:pt>
                <c:pt idx="18">
                  <c:v>City19</c:v>
                </c:pt>
                <c:pt idx="19">
                  <c:v>City20</c:v>
                </c:pt>
                <c:pt idx="20">
                  <c:v>City21</c:v>
                </c:pt>
                <c:pt idx="21">
                  <c:v>City22</c:v>
                </c:pt>
                <c:pt idx="22">
                  <c:v>City23</c:v>
                </c:pt>
                <c:pt idx="23">
                  <c:v>City24</c:v>
                </c:pt>
                <c:pt idx="24">
                  <c:v>City25</c:v>
                </c:pt>
                <c:pt idx="25">
                  <c:v>City26</c:v>
                </c:pt>
                <c:pt idx="26">
                  <c:v>City27</c:v>
                </c:pt>
              </c:strCache>
            </c:strRef>
          </c:cat>
          <c:val>
            <c:numRef>
              <c:f>Sheet1!$F$2:$F$28</c:f>
              <c:numCache>
                <c:formatCode>0</c:formatCode>
                <c:ptCount val="27"/>
                <c:pt idx="0">
                  <c:v>100</c:v>
                </c:pt>
                <c:pt idx="1">
                  <c:v>101</c:v>
                </c:pt>
                <c:pt idx="2">
                  <c:v>102</c:v>
                </c:pt>
                <c:pt idx="3">
                  <c:v>103</c:v>
                </c:pt>
                <c:pt idx="4">
                  <c:v>104</c:v>
                </c:pt>
                <c:pt idx="5">
                  <c:v>100</c:v>
                </c:pt>
                <c:pt idx="6">
                  <c:v>101</c:v>
                </c:pt>
                <c:pt idx="7">
                  <c:v>102</c:v>
                </c:pt>
                <c:pt idx="8">
                  <c:v>103</c:v>
                </c:pt>
                <c:pt idx="9">
                  <c:v>104</c:v>
                </c:pt>
                <c:pt idx="10">
                  <c:v>100</c:v>
                </c:pt>
                <c:pt idx="11">
                  <c:v>101</c:v>
                </c:pt>
                <c:pt idx="12">
                  <c:v>102</c:v>
                </c:pt>
                <c:pt idx="13">
                  <c:v>103</c:v>
                </c:pt>
                <c:pt idx="14">
                  <c:v>104</c:v>
                </c:pt>
                <c:pt idx="15">
                  <c:v>100</c:v>
                </c:pt>
                <c:pt idx="16">
                  <c:v>101</c:v>
                </c:pt>
                <c:pt idx="17">
                  <c:v>102</c:v>
                </c:pt>
                <c:pt idx="18">
                  <c:v>103</c:v>
                </c:pt>
                <c:pt idx="19">
                  <c:v>104</c:v>
                </c:pt>
                <c:pt idx="20">
                  <c:v>100</c:v>
                </c:pt>
                <c:pt idx="21">
                  <c:v>101</c:v>
                </c:pt>
                <c:pt idx="22">
                  <c:v>102</c:v>
                </c:pt>
                <c:pt idx="23">
                  <c:v>103</c:v>
                </c:pt>
                <c:pt idx="24">
                  <c:v>104</c:v>
                </c:pt>
                <c:pt idx="25">
                  <c:v>100</c:v>
                </c:pt>
                <c:pt idx="26">
                  <c:v>1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849-4274-8AF5-3682C97A5FFF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EV_Competitor1</c:v>
                </c:pt>
              </c:strCache>
            </c:strRef>
          </c:tx>
          <c:spPr>
            <a:ln w="19050">
              <a:solidFill>
                <a:schemeClr val="accent1">
                  <a:lumMod val="75000"/>
                </a:schemeClr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1">
                    <a:lumMod val="75000"/>
                  </a:schemeClr>
                </a:solidFill>
              </a:ln>
            </c:spPr>
          </c:marker>
          <c:cat>
            <c:strRef>
              <c:f>Sheet1!$A$2:$A$28</c:f>
              <c:strCache>
                <c:ptCount val="27"/>
                <c:pt idx="0">
                  <c:v>City1</c:v>
                </c:pt>
                <c:pt idx="1">
                  <c:v>City2</c:v>
                </c:pt>
                <c:pt idx="2">
                  <c:v>City3</c:v>
                </c:pt>
                <c:pt idx="3">
                  <c:v>City4</c:v>
                </c:pt>
                <c:pt idx="4">
                  <c:v>City5</c:v>
                </c:pt>
                <c:pt idx="5">
                  <c:v>City6</c:v>
                </c:pt>
                <c:pt idx="6">
                  <c:v>City7</c:v>
                </c:pt>
                <c:pt idx="7">
                  <c:v>City8</c:v>
                </c:pt>
                <c:pt idx="8">
                  <c:v>City9</c:v>
                </c:pt>
                <c:pt idx="9">
                  <c:v>City10</c:v>
                </c:pt>
                <c:pt idx="10">
                  <c:v>City11</c:v>
                </c:pt>
                <c:pt idx="11">
                  <c:v>City12</c:v>
                </c:pt>
                <c:pt idx="12">
                  <c:v>City13</c:v>
                </c:pt>
                <c:pt idx="13">
                  <c:v>City14</c:v>
                </c:pt>
                <c:pt idx="14">
                  <c:v>City15</c:v>
                </c:pt>
                <c:pt idx="15">
                  <c:v>City16</c:v>
                </c:pt>
                <c:pt idx="16">
                  <c:v>City17</c:v>
                </c:pt>
                <c:pt idx="17">
                  <c:v>City18</c:v>
                </c:pt>
                <c:pt idx="18">
                  <c:v>City19</c:v>
                </c:pt>
                <c:pt idx="19">
                  <c:v>City20</c:v>
                </c:pt>
                <c:pt idx="20">
                  <c:v>City21</c:v>
                </c:pt>
                <c:pt idx="21">
                  <c:v>City22</c:v>
                </c:pt>
                <c:pt idx="22">
                  <c:v>City23</c:v>
                </c:pt>
                <c:pt idx="23">
                  <c:v>City24</c:v>
                </c:pt>
                <c:pt idx="24">
                  <c:v>City25</c:v>
                </c:pt>
                <c:pt idx="25">
                  <c:v>City26</c:v>
                </c:pt>
                <c:pt idx="26">
                  <c:v>City27</c:v>
                </c:pt>
              </c:strCache>
            </c:strRef>
          </c:cat>
          <c:val>
            <c:numRef>
              <c:f>Sheet1!$G$2:$G$28</c:f>
              <c:numCache>
                <c:formatCode>0</c:formatCode>
                <c:ptCount val="27"/>
                <c:pt idx="0">
                  <c:v>95</c:v>
                </c:pt>
                <c:pt idx="1">
                  <c:v>96</c:v>
                </c:pt>
                <c:pt idx="2">
                  <c:v>97</c:v>
                </c:pt>
                <c:pt idx="3">
                  <c:v>98</c:v>
                </c:pt>
                <c:pt idx="4">
                  <c:v>99</c:v>
                </c:pt>
                <c:pt idx="5">
                  <c:v>95</c:v>
                </c:pt>
                <c:pt idx="6">
                  <c:v>96</c:v>
                </c:pt>
                <c:pt idx="7">
                  <c:v>97</c:v>
                </c:pt>
                <c:pt idx="8">
                  <c:v>98</c:v>
                </c:pt>
                <c:pt idx="9">
                  <c:v>99</c:v>
                </c:pt>
                <c:pt idx="10">
                  <c:v>95</c:v>
                </c:pt>
                <c:pt idx="11">
                  <c:v>96</c:v>
                </c:pt>
                <c:pt idx="12">
                  <c:v>97</c:v>
                </c:pt>
                <c:pt idx="13">
                  <c:v>98</c:v>
                </c:pt>
                <c:pt idx="14">
                  <c:v>99</c:v>
                </c:pt>
                <c:pt idx="15">
                  <c:v>95</c:v>
                </c:pt>
                <c:pt idx="16">
                  <c:v>96</c:v>
                </c:pt>
                <c:pt idx="17">
                  <c:v>97</c:v>
                </c:pt>
                <c:pt idx="18">
                  <c:v>98</c:v>
                </c:pt>
                <c:pt idx="19">
                  <c:v>99</c:v>
                </c:pt>
                <c:pt idx="20">
                  <c:v>95</c:v>
                </c:pt>
                <c:pt idx="21">
                  <c:v>96</c:v>
                </c:pt>
                <c:pt idx="22">
                  <c:v>97</c:v>
                </c:pt>
                <c:pt idx="23">
                  <c:v>98</c:v>
                </c:pt>
                <c:pt idx="24">
                  <c:v>99</c:v>
                </c:pt>
                <c:pt idx="25">
                  <c:v>95</c:v>
                </c:pt>
                <c:pt idx="26">
                  <c:v>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5849-4274-8AF5-3682C97A5FFF}"/>
            </c:ext>
          </c:extLst>
        </c:ser>
        <c:ser>
          <c:idx val="7"/>
          <c:order val="6"/>
          <c:tx>
            <c:strRef>
              <c:f>Sheet1!$H$1</c:f>
              <c:strCache>
                <c:ptCount val="1"/>
                <c:pt idx="0">
                  <c:v>EV_Competitor2</c:v>
                </c:pt>
              </c:strCache>
            </c:strRef>
          </c:tx>
          <c:spPr>
            <a:ln w="19050">
              <a:solidFill>
                <a:schemeClr val="accent2">
                  <a:lumMod val="75000"/>
                </a:schemeClr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2">
                    <a:lumMod val="75000"/>
                  </a:schemeClr>
                </a:solidFill>
              </a:ln>
            </c:spPr>
          </c:marker>
          <c:cat>
            <c:strRef>
              <c:f>Sheet1!$A$2:$A$28</c:f>
              <c:strCache>
                <c:ptCount val="27"/>
                <c:pt idx="0">
                  <c:v>City1</c:v>
                </c:pt>
                <c:pt idx="1">
                  <c:v>City2</c:v>
                </c:pt>
                <c:pt idx="2">
                  <c:v>City3</c:v>
                </c:pt>
                <c:pt idx="3">
                  <c:v>City4</c:v>
                </c:pt>
                <c:pt idx="4">
                  <c:v>City5</c:v>
                </c:pt>
                <c:pt idx="5">
                  <c:v>City6</c:v>
                </c:pt>
                <c:pt idx="6">
                  <c:v>City7</c:v>
                </c:pt>
                <c:pt idx="7">
                  <c:v>City8</c:v>
                </c:pt>
                <c:pt idx="8">
                  <c:v>City9</c:v>
                </c:pt>
                <c:pt idx="9">
                  <c:v>City10</c:v>
                </c:pt>
                <c:pt idx="10">
                  <c:v>City11</c:v>
                </c:pt>
                <c:pt idx="11">
                  <c:v>City12</c:v>
                </c:pt>
                <c:pt idx="12">
                  <c:v>City13</c:v>
                </c:pt>
                <c:pt idx="13">
                  <c:v>City14</c:v>
                </c:pt>
                <c:pt idx="14">
                  <c:v>City15</c:v>
                </c:pt>
                <c:pt idx="15">
                  <c:v>City16</c:v>
                </c:pt>
                <c:pt idx="16">
                  <c:v>City17</c:v>
                </c:pt>
                <c:pt idx="17">
                  <c:v>City18</c:v>
                </c:pt>
                <c:pt idx="18">
                  <c:v>City19</c:v>
                </c:pt>
                <c:pt idx="19">
                  <c:v>City20</c:v>
                </c:pt>
                <c:pt idx="20">
                  <c:v>City21</c:v>
                </c:pt>
                <c:pt idx="21">
                  <c:v>City22</c:v>
                </c:pt>
                <c:pt idx="22">
                  <c:v>City23</c:v>
                </c:pt>
                <c:pt idx="23">
                  <c:v>City24</c:v>
                </c:pt>
                <c:pt idx="24">
                  <c:v>City25</c:v>
                </c:pt>
                <c:pt idx="25">
                  <c:v>City26</c:v>
                </c:pt>
                <c:pt idx="26">
                  <c:v>City27</c:v>
                </c:pt>
              </c:strCache>
            </c:strRef>
          </c:cat>
          <c:val>
            <c:numRef>
              <c:f>Sheet1!$H$2:$H$28</c:f>
              <c:numCache>
                <c:formatCode>0</c:formatCode>
                <c:ptCount val="27"/>
                <c:pt idx="0">
                  <c:v>90</c:v>
                </c:pt>
                <c:pt idx="1">
                  <c:v>90</c:v>
                </c:pt>
                <c:pt idx="2">
                  <c:v>90</c:v>
                </c:pt>
                <c:pt idx="3">
                  <c:v>90</c:v>
                </c:pt>
                <c:pt idx="4">
                  <c:v>90</c:v>
                </c:pt>
                <c:pt idx="5">
                  <c:v>90</c:v>
                </c:pt>
                <c:pt idx="6">
                  <c:v>90</c:v>
                </c:pt>
                <c:pt idx="7">
                  <c:v>90</c:v>
                </c:pt>
                <c:pt idx="8">
                  <c:v>90</c:v>
                </c:pt>
                <c:pt idx="9">
                  <c:v>90</c:v>
                </c:pt>
                <c:pt idx="10">
                  <c:v>90</c:v>
                </c:pt>
                <c:pt idx="11">
                  <c:v>90</c:v>
                </c:pt>
                <c:pt idx="12">
                  <c:v>90</c:v>
                </c:pt>
                <c:pt idx="13">
                  <c:v>90</c:v>
                </c:pt>
                <c:pt idx="14">
                  <c:v>90</c:v>
                </c:pt>
                <c:pt idx="15">
                  <c:v>90</c:v>
                </c:pt>
                <c:pt idx="16">
                  <c:v>90</c:v>
                </c:pt>
                <c:pt idx="17">
                  <c:v>90</c:v>
                </c:pt>
                <c:pt idx="18">
                  <c:v>90</c:v>
                </c:pt>
                <c:pt idx="19">
                  <c:v>90</c:v>
                </c:pt>
                <c:pt idx="20">
                  <c:v>90</c:v>
                </c:pt>
                <c:pt idx="21">
                  <c:v>90</c:v>
                </c:pt>
                <c:pt idx="22">
                  <c:v>90</c:v>
                </c:pt>
                <c:pt idx="23">
                  <c:v>90</c:v>
                </c:pt>
                <c:pt idx="24">
                  <c:v>90</c:v>
                </c:pt>
                <c:pt idx="25">
                  <c:v>90</c:v>
                </c:pt>
                <c:pt idx="26">
                  <c:v>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5849-4274-8AF5-3682C97A5F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568400"/>
        <c:axId val="417558600"/>
      </c:lineChart>
      <c:catAx>
        <c:axId val="4175707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417561344"/>
        <c:crosses val="autoZero"/>
        <c:auto val="1"/>
        <c:lblAlgn val="ctr"/>
        <c:lblOffset val="100"/>
        <c:noMultiLvlLbl val="0"/>
      </c:catAx>
      <c:valAx>
        <c:axId val="417561344"/>
        <c:scaling>
          <c:orientation val="minMax"/>
          <c:max val="1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altLang="zh-CN" dirty="0"/>
                  <a:t>Share</a:t>
                </a:r>
                <a:endParaRPr lang="zh-CN" dirty="0"/>
              </a:p>
            </c:rich>
          </c:tx>
          <c:layout>
            <c:manualLayout>
              <c:xMode val="edge"/>
              <c:yMode val="edge"/>
              <c:x val="9.3689986760504509E-2"/>
              <c:y val="3.5400272566550428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417570752"/>
        <c:crosses val="autoZero"/>
        <c:crossBetween val="between"/>
      </c:valAx>
      <c:valAx>
        <c:axId val="417558600"/>
        <c:scaling>
          <c:orientation val="minMax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altLang="zh-CN" dirty="0"/>
                  <a:t>EV</a:t>
                </a:r>
              </a:p>
            </c:rich>
          </c:tx>
          <c:layout>
            <c:manualLayout>
              <c:xMode val="edge"/>
              <c:yMode val="edge"/>
              <c:x val="0.97336863064530732"/>
              <c:y val="3.6121772258864621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#,##0_);[Red]\(#,##0\)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417568400"/>
        <c:crosses val="max"/>
        <c:crossBetween val="between"/>
      </c:valAx>
      <c:catAx>
        <c:axId val="41756840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17558600"/>
        <c:crosses val="autoZero"/>
        <c:auto val="1"/>
        <c:lblAlgn val="ctr"/>
        <c:lblOffset val="100"/>
        <c:noMultiLvlLbl val="0"/>
      </c:cat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/>
          <a:lstStyle/>
          <a:p>
            <a:pPr rtl="0">
              <a:defRPr sz="700">
                <a:latin typeface="+mj-lt"/>
              </a:defRPr>
            </a:pPr>
            <a:endParaRPr lang="zh-CN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>
          <a:latin typeface="+mj-lt"/>
        </a:defRPr>
      </a:pPr>
      <a:endParaRPr lang="zh-CN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935858128353424"/>
          <c:y val="3.9855083834041946E-2"/>
          <c:w val="0.79692228183866398"/>
          <c:h val="0.57233383896320866"/>
        </c:manualLayout>
      </c:layout>
      <c:barChart>
        <c:barDir val="col"/>
        <c:grouping val="stacked"/>
        <c:varyColors val="0"/>
        <c:ser>
          <c:idx val="3"/>
          <c:order val="0"/>
          <c:tx>
            <c:strRef>
              <c:f>Sheet1!$E$1</c:f>
              <c:strCache>
                <c:ptCount val="1"/>
                <c:pt idx="0">
                  <c:v>Others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6350">
              <a:solidFill>
                <a:schemeClr val="bg1"/>
              </a:solidFill>
              <a:prstDash val="solid"/>
            </a:ln>
          </c:spPr>
          <c:invertIfNegative val="0"/>
          <c:cat>
            <c:strRef>
              <c:f>Sheet1!$A$2:$A$28</c:f>
              <c:strCache>
                <c:ptCount val="27"/>
                <c:pt idx="0">
                  <c:v>City1</c:v>
                </c:pt>
                <c:pt idx="1">
                  <c:v>City2</c:v>
                </c:pt>
                <c:pt idx="2">
                  <c:v>City3</c:v>
                </c:pt>
                <c:pt idx="3">
                  <c:v>City4</c:v>
                </c:pt>
                <c:pt idx="4">
                  <c:v>City5</c:v>
                </c:pt>
                <c:pt idx="5">
                  <c:v>City6</c:v>
                </c:pt>
                <c:pt idx="6">
                  <c:v>City7</c:v>
                </c:pt>
                <c:pt idx="7">
                  <c:v>City8</c:v>
                </c:pt>
                <c:pt idx="8">
                  <c:v>City9</c:v>
                </c:pt>
                <c:pt idx="9">
                  <c:v>City10</c:v>
                </c:pt>
                <c:pt idx="10">
                  <c:v>City11</c:v>
                </c:pt>
                <c:pt idx="11">
                  <c:v>City12</c:v>
                </c:pt>
                <c:pt idx="12">
                  <c:v>City13</c:v>
                </c:pt>
                <c:pt idx="13">
                  <c:v>City14</c:v>
                </c:pt>
                <c:pt idx="14">
                  <c:v>City15</c:v>
                </c:pt>
                <c:pt idx="15">
                  <c:v>City16</c:v>
                </c:pt>
                <c:pt idx="16">
                  <c:v>City17</c:v>
                </c:pt>
                <c:pt idx="17">
                  <c:v>City18</c:v>
                </c:pt>
                <c:pt idx="18">
                  <c:v>City19</c:v>
                </c:pt>
                <c:pt idx="19">
                  <c:v>City20</c:v>
                </c:pt>
                <c:pt idx="20">
                  <c:v>City21</c:v>
                </c:pt>
                <c:pt idx="21">
                  <c:v>City22</c:v>
                </c:pt>
                <c:pt idx="22">
                  <c:v>City23</c:v>
                </c:pt>
                <c:pt idx="23">
                  <c:v>City24</c:v>
                </c:pt>
                <c:pt idx="24">
                  <c:v>City25</c:v>
                </c:pt>
                <c:pt idx="25">
                  <c:v>City26</c:v>
                </c:pt>
                <c:pt idx="26">
                  <c:v>City27</c:v>
                </c:pt>
              </c:strCache>
            </c:strRef>
          </c:cat>
          <c:val>
            <c:numRef>
              <c:f>Sheet1!$E$2:$E$28</c:f>
              <c:numCache>
                <c:formatCode>0.0%</c:formatCode>
                <c:ptCount val="27"/>
                <c:pt idx="0">
                  <c:v>0.81</c:v>
                </c:pt>
                <c:pt idx="1">
                  <c:v>0.81</c:v>
                </c:pt>
                <c:pt idx="2">
                  <c:v>0.81</c:v>
                </c:pt>
                <c:pt idx="3">
                  <c:v>0.81</c:v>
                </c:pt>
                <c:pt idx="4">
                  <c:v>0.81</c:v>
                </c:pt>
                <c:pt idx="5">
                  <c:v>0.81</c:v>
                </c:pt>
                <c:pt idx="6">
                  <c:v>0.81</c:v>
                </c:pt>
                <c:pt idx="7">
                  <c:v>0.81</c:v>
                </c:pt>
                <c:pt idx="8">
                  <c:v>0.81</c:v>
                </c:pt>
                <c:pt idx="9">
                  <c:v>0.81</c:v>
                </c:pt>
                <c:pt idx="10">
                  <c:v>0.81</c:v>
                </c:pt>
                <c:pt idx="11">
                  <c:v>0.81</c:v>
                </c:pt>
                <c:pt idx="12">
                  <c:v>0.81</c:v>
                </c:pt>
                <c:pt idx="13">
                  <c:v>0.81</c:v>
                </c:pt>
                <c:pt idx="14">
                  <c:v>0.81</c:v>
                </c:pt>
                <c:pt idx="15">
                  <c:v>0.81</c:v>
                </c:pt>
                <c:pt idx="16">
                  <c:v>0.81</c:v>
                </c:pt>
                <c:pt idx="17">
                  <c:v>0.81</c:v>
                </c:pt>
                <c:pt idx="18">
                  <c:v>0.81</c:v>
                </c:pt>
                <c:pt idx="19">
                  <c:v>0.81</c:v>
                </c:pt>
                <c:pt idx="20">
                  <c:v>0.81</c:v>
                </c:pt>
                <c:pt idx="21">
                  <c:v>0.81</c:v>
                </c:pt>
                <c:pt idx="22">
                  <c:v>0.81</c:v>
                </c:pt>
                <c:pt idx="23">
                  <c:v>0.81</c:v>
                </c:pt>
                <c:pt idx="24">
                  <c:v>0.81</c:v>
                </c:pt>
                <c:pt idx="25">
                  <c:v>0.81</c:v>
                </c:pt>
                <c:pt idx="26">
                  <c:v>0.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7-4B3D-99B7-BBC89CD75A4C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Competitor2</c:v>
                </c:pt>
              </c:strCache>
            </c:strRef>
          </c:tx>
          <c:spPr>
            <a:solidFill>
              <a:schemeClr val="accent2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28</c:f>
              <c:strCache>
                <c:ptCount val="27"/>
                <c:pt idx="0">
                  <c:v>City1</c:v>
                </c:pt>
                <c:pt idx="1">
                  <c:v>City2</c:v>
                </c:pt>
                <c:pt idx="2">
                  <c:v>City3</c:v>
                </c:pt>
                <c:pt idx="3">
                  <c:v>City4</c:v>
                </c:pt>
                <c:pt idx="4">
                  <c:v>City5</c:v>
                </c:pt>
                <c:pt idx="5">
                  <c:v>City6</c:v>
                </c:pt>
                <c:pt idx="6">
                  <c:v>City7</c:v>
                </c:pt>
                <c:pt idx="7">
                  <c:v>City8</c:v>
                </c:pt>
                <c:pt idx="8">
                  <c:v>City9</c:v>
                </c:pt>
                <c:pt idx="9">
                  <c:v>City10</c:v>
                </c:pt>
                <c:pt idx="10">
                  <c:v>City11</c:v>
                </c:pt>
                <c:pt idx="11">
                  <c:v>City12</c:v>
                </c:pt>
                <c:pt idx="12">
                  <c:v>City13</c:v>
                </c:pt>
                <c:pt idx="13">
                  <c:v>City14</c:v>
                </c:pt>
                <c:pt idx="14">
                  <c:v>City15</c:v>
                </c:pt>
                <c:pt idx="15">
                  <c:v>City16</c:v>
                </c:pt>
                <c:pt idx="16">
                  <c:v>City17</c:v>
                </c:pt>
                <c:pt idx="17">
                  <c:v>City18</c:v>
                </c:pt>
                <c:pt idx="18">
                  <c:v>City19</c:v>
                </c:pt>
                <c:pt idx="19">
                  <c:v>City20</c:v>
                </c:pt>
                <c:pt idx="20">
                  <c:v>City21</c:v>
                </c:pt>
                <c:pt idx="21">
                  <c:v>City22</c:v>
                </c:pt>
                <c:pt idx="22">
                  <c:v>City23</c:v>
                </c:pt>
                <c:pt idx="23">
                  <c:v>City24</c:v>
                </c:pt>
                <c:pt idx="24">
                  <c:v>City25</c:v>
                </c:pt>
                <c:pt idx="25">
                  <c:v>City26</c:v>
                </c:pt>
                <c:pt idx="26">
                  <c:v>City27</c:v>
                </c:pt>
              </c:strCache>
            </c:strRef>
          </c:cat>
          <c:val>
            <c:numRef>
              <c:f>Sheet1!$D$2:$D$28</c:f>
              <c:numCache>
                <c:formatCode>0.0%</c:formatCode>
                <c:ptCount val="27"/>
                <c:pt idx="0">
                  <c:v>0.06</c:v>
                </c:pt>
                <c:pt idx="1">
                  <c:v>0.06</c:v>
                </c:pt>
                <c:pt idx="2">
                  <c:v>0.06</c:v>
                </c:pt>
                <c:pt idx="3">
                  <c:v>0.06</c:v>
                </c:pt>
                <c:pt idx="4">
                  <c:v>0.06</c:v>
                </c:pt>
                <c:pt idx="5">
                  <c:v>0.06</c:v>
                </c:pt>
                <c:pt idx="6">
                  <c:v>0.06</c:v>
                </c:pt>
                <c:pt idx="7">
                  <c:v>0.06</c:v>
                </c:pt>
                <c:pt idx="8">
                  <c:v>0.06</c:v>
                </c:pt>
                <c:pt idx="9">
                  <c:v>0.06</c:v>
                </c:pt>
                <c:pt idx="10">
                  <c:v>0.06</c:v>
                </c:pt>
                <c:pt idx="11">
                  <c:v>0.06</c:v>
                </c:pt>
                <c:pt idx="12">
                  <c:v>0.06</c:v>
                </c:pt>
                <c:pt idx="13">
                  <c:v>0.06</c:v>
                </c:pt>
                <c:pt idx="14">
                  <c:v>0.06</c:v>
                </c:pt>
                <c:pt idx="15">
                  <c:v>0.06</c:v>
                </c:pt>
                <c:pt idx="16">
                  <c:v>0.06</c:v>
                </c:pt>
                <c:pt idx="17">
                  <c:v>0.06</c:v>
                </c:pt>
                <c:pt idx="18">
                  <c:v>0.06</c:v>
                </c:pt>
                <c:pt idx="19">
                  <c:v>0.06</c:v>
                </c:pt>
                <c:pt idx="20">
                  <c:v>0.06</c:v>
                </c:pt>
                <c:pt idx="21">
                  <c:v>0.06</c:v>
                </c:pt>
                <c:pt idx="22">
                  <c:v>0.06</c:v>
                </c:pt>
                <c:pt idx="23">
                  <c:v>0.06</c:v>
                </c:pt>
                <c:pt idx="24">
                  <c:v>0.06</c:v>
                </c:pt>
                <c:pt idx="25">
                  <c:v>0.06</c:v>
                </c:pt>
                <c:pt idx="26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077-4B3D-99B7-BBC89CD75A4C}"/>
            </c:ext>
          </c:extLst>
        </c:ser>
        <c:ser>
          <c:idx val="1"/>
          <c:order val="2"/>
          <c:tx>
            <c:strRef>
              <c:f>Sheet1!$C$1</c:f>
              <c:strCache>
                <c:ptCount val="1"/>
                <c:pt idx="0">
                  <c:v>Competitor1</c:v>
                </c:pt>
              </c:strCache>
            </c:strRef>
          </c:tx>
          <c:spPr>
            <a:solidFill>
              <a:schemeClr val="accent1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28</c:f>
              <c:strCache>
                <c:ptCount val="27"/>
                <c:pt idx="0">
                  <c:v>City1</c:v>
                </c:pt>
                <c:pt idx="1">
                  <c:v>City2</c:v>
                </c:pt>
                <c:pt idx="2">
                  <c:v>City3</c:v>
                </c:pt>
                <c:pt idx="3">
                  <c:v>City4</c:v>
                </c:pt>
                <c:pt idx="4">
                  <c:v>City5</c:v>
                </c:pt>
                <c:pt idx="5">
                  <c:v>City6</c:v>
                </c:pt>
                <c:pt idx="6">
                  <c:v>City7</c:v>
                </c:pt>
                <c:pt idx="7">
                  <c:v>City8</c:v>
                </c:pt>
                <c:pt idx="8">
                  <c:v>City9</c:v>
                </c:pt>
                <c:pt idx="9">
                  <c:v>City10</c:v>
                </c:pt>
                <c:pt idx="10">
                  <c:v>City11</c:v>
                </c:pt>
                <c:pt idx="11">
                  <c:v>City12</c:v>
                </c:pt>
                <c:pt idx="12">
                  <c:v>City13</c:v>
                </c:pt>
                <c:pt idx="13">
                  <c:v>City14</c:v>
                </c:pt>
                <c:pt idx="14">
                  <c:v>City15</c:v>
                </c:pt>
                <c:pt idx="15">
                  <c:v>City16</c:v>
                </c:pt>
                <c:pt idx="16">
                  <c:v>City17</c:v>
                </c:pt>
                <c:pt idx="17">
                  <c:v>City18</c:v>
                </c:pt>
                <c:pt idx="18">
                  <c:v>City19</c:v>
                </c:pt>
                <c:pt idx="19">
                  <c:v>City20</c:v>
                </c:pt>
                <c:pt idx="20">
                  <c:v>City21</c:v>
                </c:pt>
                <c:pt idx="21">
                  <c:v>City22</c:v>
                </c:pt>
                <c:pt idx="22">
                  <c:v>City23</c:v>
                </c:pt>
                <c:pt idx="23">
                  <c:v>City24</c:v>
                </c:pt>
                <c:pt idx="24">
                  <c:v>City25</c:v>
                </c:pt>
                <c:pt idx="25">
                  <c:v>City26</c:v>
                </c:pt>
                <c:pt idx="26">
                  <c:v>City27</c:v>
                </c:pt>
              </c:strCache>
            </c:strRef>
          </c:cat>
          <c:val>
            <c:numRef>
              <c:f>Sheet1!$C$2:$C$28</c:f>
              <c:numCache>
                <c:formatCode>0.0%</c:formatCode>
                <c:ptCount val="27"/>
                <c:pt idx="0">
                  <c:v>0.08</c:v>
                </c:pt>
                <c:pt idx="1">
                  <c:v>0.08</c:v>
                </c:pt>
                <c:pt idx="2">
                  <c:v>0.08</c:v>
                </c:pt>
                <c:pt idx="3">
                  <c:v>0.08</c:v>
                </c:pt>
                <c:pt idx="4">
                  <c:v>0.08</c:v>
                </c:pt>
                <c:pt idx="5">
                  <c:v>0.08</c:v>
                </c:pt>
                <c:pt idx="6">
                  <c:v>0.08</c:v>
                </c:pt>
                <c:pt idx="7">
                  <c:v>0.08</c:v>
                </c:pt>
                <c:pt idx="8">
                  <c:v>0.08</c:v>
                </c:pt>
                <c:pt idx="9">
                  <c:v>0.08</c:v>
                </c:pt>
                <c:pt idx="10">
                  <c:v>0.08</c:v>
                </c:pt>
                <c:pt idx="11">
                  <c:v>0.08</c:v>
                </c:pt>
                <c:pt idx="12">
                  <c:v>0.08</c:v>
                </c:pt>
                <c:pt idx="13">
                  <c:v>0.08</c:v>
                </c:pt>
                <c:pt idx="14">
                  <c:v>0.08</c:v>
                </c:pt>
                <c:pt idx="15">
                  <c:v>0.08</c:v>
                </c:pt>
                <c:pt idx="16">
                  <c:v>0.08</c:v>
                </c:pt>
                <c:pt idx="17">
                  <c:v>0.08</c:v>
                </c:pt>
                <c:pt idx="18">
                  <c:v>0.08</c:v>
                </c:pt>
                <c:pt idx="19">
                  <c:v>0.08</c:v>
                </c:pt>
                <c:pt idx="20">
                  <c:v>0.08</c:v>
                </c:pt>
                <c:pt idx="21">
                  <c:v>0.08</c:v>
                </c:pt>
                <c:pt idx="22">
                  <c:v>0.08</c:v>
                </c:pt>
                <c:pt idx="23">
                  <c:v>0.08</c:v>
                </c:pt>
                <c:pt idx="24">
                  <c:v>0.08</c:v>
                </c:pt>
                <c:pt idx="25">
                  <c:v>0.08</c:v>
                </c:pt>
                <c:pt idx="26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077-4B3D-99B7-BBC89CD75A4C}"/>
            </c:ext>
          </c:extLst>
        </c:ser>
        <c:ser>
          <c:idx val="0"/>
          <c:order val="3"/>
          <c:tx>
            <c:strRef>
              <c:f>Sheet1!$B$1</c:f>
              <c:strCache>
                <c:ptCount val="1"/>
                <c:pt idx="0">
                  <c:v>Int Prod</c:v>
                </c:pt>
              </c:strCache>
            </c:strRef>
          </c:tx>
          <c:spPr>
            <a:solidFill>
              <a:srgbClr val="FF0000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28</c:f>
              <c:strCache>
                <c:ptCount val="27"/>
                <c:pt idx="0">
                  <c:v>City1</c:v>
                </c:pt>
                <c:pt idx="1">
                  <c:v>City2</c:v>
                </c:pt>
                <c:pt idx="2">
                  <c:v>City3</c:v>
                </c:pt>
                <c:pt idx="3">
                  <c:v>City4</c:v>
                </c:pt>
                <c:pt idx="4">
                  <c:v>City5</c:v>
                </c:pt>
                <c:pt idx="5">
                  <c:v>City6</c:v>
                </c:pt>
                <c:pt idx="6">
                  <c:v>City7</c:v>
                </c:pt>
                <c:pt idx="7">
                  <c:v>City8</c:v>
                </c:pt>
                <c:pt idx="8">
                  <c:v>City9</c:v>
                </c:pt>
                <c:pt idx="9">
                  <c:v>City10</c:v>
                </c:pt>
                <c:pt idx="10">
                  <c:v>City11</c:v>
                </c:pt>
                <c:pt idx="11">
                  <c:v>City12</c:v>
                </c:pt>
                <c:pt idx="12">
                  <c:v>City13</c:v>
                </c:pt>
                <c:pt idx="13">
                  <c:v>City14</c:v>
                </c:pt>
                <c:pt idx="14">
                  <c:v>City15</c:v>
                </c:pt>
                <c:pt idx="15">
                  <c:v>City16</c:v>
                </c:pt>
                <c:pt idx="16">
                  <c:v>City17</c:v>
                </c:pt>
                <c:pt idx="17">
                  <c:v>City18</c:v>
                </c:pt>
                <c:pt idx="18">
                  <c:v>City19</c:v>
                </c:pt>
                <c:pt idx="19">
                  <c:v>City20</c:v>
                </c:pt>
                <c:pt idx="20">
                  <c:v>City21</c:v>
                </c:pt>
                <c:pt idx="21">
                  <c:v>City22</c:v>
                </c:pt>
                <c:pt idx="22">
                  <c:v>City23</c:v>
                </c:pt>
                <c:pt idx="23">
                  <c:v>City24</c:v>
                </c:pt>
                <c:pt idx="24">
                  <c:v>City25</c:v>
                </c:pt>
                <c:pt idx="25">
                  <c:v>City26</c:v>
                </c:pt>
                <c:pt idx="26">
                  <c:v>City27</c:v>
                </c:pt>
              </c:strCache>
            </c:strRef>
          </c:cat>
          <c:val>
            <c:numRef>
              <c:f>Sheet1!$B$2:$B$28</c:f>
              <c:numCache>
                <c:formatCode>0.0%</c:formatCode>
                <c:ptCount val="27"/>
                <c:pt idx="0">
                  <c:v>0.05</c:v>
                </c:pt>
                <c:pt idx="1">
                  <c:v>0.05</c:v>
                </c:pt>
                <c:pt idx="2">
                  <c:v>0.05</c:v>
                </c:pt>
                <c:pt idx="3">
                  <c:v>0.05</c:v>
                </c:pt>
                <c:pt idx="4">
                  <c:v>0.05</c:v>
                </c:pt>
                <c:pt idx="5">
                  <c:v>0.05</c:v>
                </c:pt>
                <c:pt idx="6">
                  <c:v>0.05</c:v>
                </c:pt>
                <c:pt idx="7">
                  <c:v>0.05</c:v>
                </c:pt>
                <c:pt idx="8">
                  <c:v>0.05</c:v>
                </c:pt>
                <c:pt idx="9">
                  <c:v>0.05</c:v>
                </c:pt>
                <c:pt idx="10">
                  <c:v>0.05</c:v>
                </c:pt>
                <c:pt idx="11">
                  <c:v>0.05</c:v>
                </c:pt>
                <c:pt idx="12">
                  <c:v>0.05</c:v>
                </c:pt>
                <c:pt idx="13">
                  <c:v>0.05</c:v>
                </c:pt>
                <c:pt idx="14">
                  <c:v>0.05</c:v>
                </c:pt>
                <c:pt idx="15">
                  <c:v>0.05</c:v>
                </c:pt>
                <c:pt idx="16">
                  <c:v>0.05</c:v>
                </c:pt>
                <c:pt idx="17">
                  <c:v>0.05</c:v>
                </c:pt>
                <c:pt idx="18">
                  <c:v>0.05</c:v>
                </c:pt>
                <c:pt idx="19">
                  <c:v>0.05</c:v>
                </c:pt>
                <c:pt idx="20">
                  <c:v>0.05</c:v>
                </c:pt>
                <c:pt idx="21">
                  <c:v>0.05</c:v>
                </c:pt>
                <c:pt idx="22">
                  <c:v>0.05</c:v>
                </c:pt>
                <c:pt idx="23">
                  <c:v>0.05</c:v>
                </c:pt>
                <c:pt idx="24">
                  <c:v>0.05</c:v>
                </c:pt>
                <c:pt idx="25">
                  <c:v>0.05</c:v>
                </c:pt>
                <c:pt idx="26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077-4B3D-99B7-BBC89CD75A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417573888"/>
        <c:axId val="417573496"/>
      </c:barChart>
      <c:lineChart>
        <c:grouping val="standard"/>
        <c:varyColors val="0"/>
        <c:ser>
          <c:idx val="4"/>
          <c:order val="4"/>
          <c:tx>
            <c:strRef>
              <c:f>Sheet1!$F$1</c:f>
              <c:strCache>
                <c:ptCount val="1"/>
                <c:pt idx="0">
                  <c:v>EV_Int Prod</c:v>
                </c:pt>
              </c:strCache>
            </c:strRef>
          </c:tx>
          <c:spPr>
            <a:ln w="19050">
              <a:solidFill>
                <a:srgbClr val="C00000"/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rgbClr val="C00000"/>
                </a:solidFill>
              </a:ln>
            </c:spPr>
          </c:marker>
          <c:cat>
            <c:strRef>
              <c:f>Sheet1!$A$2:$A$28</c:f>
              <c:strCache>
                <c:ptCount val="27"/>
                <c:pt idx="0">
                  <c:v>City1</c:v>
                </c:pt>
                <c:pt idx="1">
                  <c:v>City2</c:v>
                </c:pt>
                <c:pt idx="2">
                  <c:v>City3</c:v>
                </c:pt>
                <c:pt idx="3">
                  <c:v>City4</c:v>
                </c:pt>
                <c:pt idx="4">
                  <c:v>City5</c:v>
                </c:pt>
                <c:pt idx="5">
                  <c:v>City6</c:v>
                </c:pt>
                <c:pt idx="6">
                  <c:v>City7</c:v>
                </c:pt>
                <c:pt idx="7">
                  <c:v>City8</c:v>
                </c:pt>
                <c:pt idx="8">
                  <c:v>City9</c:v>
                </c:pt>
                <c:pt idx="9">
                  <c:v>City10</c:v>
                </c:pt>
                <c:pt idx="10">
                  <c:v>City11</c:v>
                </c:pt>
                <c:pt idx="11">
                  <c:v>City12</c:v>
                </c:pt>
                <c:pt idx="12">
                  <c:v>City13</c:v>
                </c:pt>
                <c:pt idx="13">
                  <c:v>City14</c:v>
                </c:pt>
                <c:pt idx="14">
                  <c:v>City15</c:v>
                </c:pt>
                <c:pt idx="15">
                  <c:v>City16</c:v>
                </c:pt>
                <c:pt idx="16">
                  <c:v>City17</c:v>
                </c:pt>
                <c:pt idx="17">
                  <c:v>City18</c:v>
                </c:pt>
                <c:pt idx="18">
                  <c:v>City19</c:v>
                </c:pt>
                <c:pt idx="19">
                  <c:v>City20</c:v>
                </c:pt>
                <c:pt idx="20">
                  <c:v>City21</c:v>
                </c:pt>
                <c:pt idx="21">
                  <c:v>City22</c:v>
                </c:pt>
                <c:pt idx="22">
                  <c:v>City23</c:v>
                </c:pt>
                <c:pt idx="23">
                  <c:v>City24</c:v>
                </c:pt>
                <c:pt idx="24">
                  <c:v>City25</c:v>
                </c:pt>
                <c:pt idx="25">
                  <c:v>City26</c:v>
                </c:pt>
                <c:pt idx="26">
                  <c:v>City27</c:v>
                </c:pt>
              </c:strCache>
            </c:strRef>
          </c:cat>
          <c:val>
            <c:numRef>
              <c:f>Sheet1!$F$2:$F$28</c:f>
              <c:numCache>
                <c:formatCode>0</c:formatCode>
                <c:ptCount val="27"/>
                <c:pt idx="0">
                  <c:v>100</c:v>
                </c:pt>
                <c:pt idx="1">
                  <c:v>101</c:v>
                </c:pt>
                <c:pt idx="2">
                  <c:v>102</c:v>
                </c:pt>
                <c:pt idx="3">
                  <c:v>103</c:v>
                </c:pt>
                <c:pt idx="4">
                  <c:v>104</c:v>
                </c:pt>
                <c:pt idx="5">
                  <c:v>100</c:v>
                </c:pt>
                <c:pt idx="6">
                  <c:v>101</c:v>
                </c:pt>
                <c:pt idx="7">
                  <c:v>102</c:v>
                </c:pt>
                <c:pt idx="8">
                  <c:v>103</c:v>
                </c:pt>
                <c:pt idx="9">
                  <c:v>104</c:v>
                </c:pt>
                <c:pt idx="10">
                  <c:v>100</c:v>
                </c:pt>
                <c:pt idx="11">
                  <c:v>101</c:v>
                </c:pt>
                <c:pt idx="12">
                  <c:v>102</c:v>
                </c:pt>
                <c:pt idx="13">
                  <c:v>103</c:v>
                </c:pt>
                <c:pt idx="14">
                  <c:v>104</c:v>
                </c:pt>
                <c:pt idx="15">
                  <c:v>100</c:v>
                </c:pt>
                <c:pt idx="16">
                  <c:v>101</c:v>
                </c:pt>
                <c:pt idx="17">
                  <c:v>102</c:v>
                </c:pt>
                <c:pt idx="18">
                  <c:v>103</c:v>
                </c:pt>
                <c:pt idx="19">
                  <c:v>104</c:v>
                </c:pt>
                <c:pt idx="20">
                  <c:v>100</c:v>
                </c:pt>
                <c:pt idx="21">
                  <c:v>101</c:v>
                </c:pt>
                <c:pt idx="22">
                  <c:v>102</c:v>
                </c:pt>
                <c:pt idx="23">
                  <c:v>103</c:v>
                </c:pt>
                <c:pt idx="24">
                  <c:v>104</c:v>
                </c:pt>
                <c:pt idx="25">
                  <c:v>100</c:v>
                </c:pt>
                <c:pt idx="26">
                  <c:v>1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077-4B3D-99B7-BBC89CD75A4C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EV_Competitor1</c:v>
                </c:pt>
              </c:strCache>
            </c:strRef>
          </c:tx>
          <c:spPr>
            <a:ln w="19050">
              <a:solidFill>
                <a:schemeClr val="accent1">
                  <a:lumMod val="75000"/>
                </a:schemeClr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1">
                    <a:lumMod val="75000"/>
                  </a:schemeClr>
                </a:solidFill>
              </a:ln>
            </c:spPr>
          </c:marker>
          <c:cat>
            <c:strRef>
              <c:f>Sheet1!$A$2:$A$28</c:f>
              <c:strCache>
                <c:ptCount val="27"/>
                <c:pt idx="0">
                  <c:v>City1</c:v>
                </c:pt>
                <c:pt idx="1">
                  <c:v>City2</c:v>
                </c:pt>
                <c:pt idx="2">
                  <c:v>City3</c:v>
                </c:pt>
                <c:pt idx="3">
                  <c:v>City4</c:v>
                </c:pt>
                <c:pt idx="4">
                  <c:v>City5</c:v>
                </c:pt>
                <c:pt idx="5">
                  <c:v>City6</c:v>
                </c:pt>
                <c:pt idx="6">
                  <c:v>City7</c:v>
                </c:pt>
                <c:pt idx="7">
                  <c:v>City8</c:v>
                </c:pt>
                <c:pt idx="8">
                  <c:v>City9</c:v>
                </c:pt>
                <c:pt idx="9">
                  <c:v>City10</c:v>
                </c:pt>
                <c:pt idx="10">
                  <c:v>City11</c:v>
                </c:pt>
                <c:pt idx="11">
                  <c:v>City12</c:v>
                </c:pt>
                <c:pt idx="12">
                  <c:v>City13</c:v>
                </c:pt>
                <c:pt idx="13">
                  <c:v>City14</c:v>
                </c:pt>
                <c:pt idx="14">
                  <c:v>City15</c:v>
                </c:pt>
                <c:pt idx="15">
                  <c:v>City16</c:v>
                </c:pt>
                <c:pt idx="16">
                  <c:v>City17</c:v>
                </c:pt>
                <c:pt idx="17">
                  <c:v>City18</c:v>
                </c:pt>
                <c:pt idx="18">
                  <c:v>City19</c:v>
                </c:pt>
                <c:pt idx="19">
                  <c:v>City20</c:v>
                </c:pt>
                <c:pt idx="20">
                  <c:v>City21</c:v>
                </c:pt>
                <c:pt idx="21">
                  <c:v>City22</c:v>
                </c:pt>
                <c:pt idx="22">
                  <c:v>City23</c:v>
                </c:pt>
                <c:pt idx="23">
                  <c:v>City24</c:v>
                </c:pt>
                <c:pt idx="24">
                  <c:v>City25</c:v>
                </c:pt>
                <c:pt idx="25">
                  <c:v>City26</c:v>
                </c:pt>
                <c:pt idx="26">
                  <c:v>City27</c:v>
                </c:pt>
              </c:strCache>
            </c:strRef>
          </c:cat>
          <c:val>
            <c:numRef>
              <c:f>Sheet1!$G$2:$G$28</c:f>
              <c:numCache>
                <c:formatCode>0</c:formatCode>
                <c:ptCount val="27"/>
                <c:pt idx="0">
                  <c:v>95</c:v>
                </c:pt>
                <c:pt idx="1">
                  <c:v>96</c:v>
                </c:pt>
                <c:pt idx="2">
                  <c:v>97</c:v>
                </c:pt>
                <c:pt idx="3">
                  <c:v>98</c:v>
                </c:pt>
                <c:pt idx="4">
                  <c:v>99</c:v>
                </c:pt>
                <c:pt idx="5">
                  <c:v>95</c:v>
                </c:pt>
                <c:pt idx="6">
                  <c:v>96</c:v>
                </c:pt>
                <c:pt idx="7">
                  <c:v>97</c:v>
                </c:pt>
                <c:pt idx="8">
                  <c:v>98</c:v>
                </c:pt>
                <c:pt idx="9">
                  <c:v>99</c:v>
                </c:pt>
                <c:pt idx="10">
                  <c:v>95</c:v>
                </c:pt>
                <c:pt idx="11">
                  <c:v>96</c:v>
                </c:pt>
                <c:pt idx="12">
                  <c:v>97</c:v>
                </c:pt>
                <c:pt idx="13">
                  <c:v>98</c:v>
                </c:pt>
                <c:pt idx="14">
                  <c:v>99</c:v>
                </c:pt>
                <c:pt idx="15">
                  <c:v>95</c:v>
                </c:pt>
                <c:pt idx="16">
                  <c:v>96</c:v>
                </c:pt>
                <c:pt idx="17">
                  <c:v>97</c:v>
                </c:pt>
                <c:pt idx="18">
                  <c:v>98</c:v>
                </c:pt>
                <c:pt idx="19">
                  <c:v>99</c:v>
                </c:pt>
                <c:pt idx="20">
                  <c:v>95</c:v>
                </c:pt>
                <c:pt idx="21">
                  <c:v>96</c:v>
                </c:pt>
                <c:pt idx="22">
                  <c:v>97</c:v>
                </c:pt>
                <c:pt idx="23">
                  <c:v>98</c:v>
                </c:pt>
                <c:pt idx="24">
                  <c:v>99</c:v>
                </c:pt>
                <c:pt idx="25">
                  <c:v>95</c:v>
                </c:pt>
                <c:pt idx="26">
                  <c:v>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077-4B3D-99B7-BBC89CD75A4C}"/>
            </c:ext>
          </c:extLst>
        </c:ser>
        <c:ser>
          <c:idx val="7"/>
          <c:order val="6"/>
          <c:tx>
            <c:strRef>
              <c:f>Sheet1!$H$1</c:f>
              <c:strCache>
                <c:ptCount val="1"/>
                <c:pt idx="0">
                  <c:v>EV_Competitor2</c:v>
                </c:pt>
              </c:strCache>
            </c:strRef>
          </c:tx>
          <c:spPr>
            <a:ln w="19050">
              <a:solidFill>
                <a:schemeClr val="accent2">
                  <a:lumMod val="75000"/>
                </a:schemeClr>
              </a:solidFill>
            </a:ln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chemeClr val="accent2">
                    <a:lumMod val="75000"/>
                  </a:schemeClr>
                </a:solidFill>
              </a:ln>
            </c:spPr>
          </c:marker>
          <c:cat>
            <c:strRef>
              <c:f>Sheet1!$A$2:$A$28</c:f>
              <c:strCache>
                <c:ptCount val="27"/>
                <c:pt idx="0">
                  <c:v>City1</c:v>
                </c:pt>
                <c:pt idx="1">
                  <c:v>City2</c:v>
                </c:pt>
                <c:pt idx="2">
                  <c:v>City3</c:v>
                </c:pt>
                <c:pt idx="3">
                  <c:v>City4</c:v>
                </c:pt>
                <c:pt idx="4">
                  <c:v>City5</c:v>
                </c:pt>
                <c:pt idx="5">
                  <c:v>City6</c:v>
                </c:pt>
                <c:pt idx="6">
                  <c:v>City7</c:v>
                </c:pt>
                <c:pt idx="7">
                  <c:v>City8</c:v>
                </c:pt>
                <c:pt idx="8">
                  <c:v>City9</c:v>
                </c:pt>
                <c:pt idx="9">
                  <c:v>City10</c:v>
                </c:pt>
                <c:pt idx="10">
                  <c:v>City11</c:v>
                </c:pt>
                <c:pt idx="11">
                  <c:v>City12</c:v>
                </c:pt>
                <c:pt idx="12">
                  <c:v>City13</c:v>
                </c:pt>
                <c:pt idx="13">
                  <c:v>City14</c:v>
                </c:pt>
                <c:pt idx="14">
                  <c:v>City15</c:v>
                </c:pt>
                <c:pt idx="15">
                  <c:v>City16</c:v>
                </c:pt>
                <c:pt idx="16">
                  <c:v>City17</c:v>
                </c:pt>
                <c:pt idx="17">
                  <c:v>City18</c:v>
                </c:pt>
                <c:pt idx="18">
                  <c:v>City19</c:v>
                </c:pt>
                <c:pt idx="19">
                  <c:v>City20</c:v>
                </c:pt>
                <c:pt idx="20">
                  <c:v>City21</c:v>
                </c:pt>
                <c:pt idx="21">
                  <c:v>City22</c:v>
                </c:pt>
                <c:pt idx="22">
                  <c:v>City23</c:v>
                </c:pt>
                <c:pt idx="23">
                  <c:v>City24</c:v>
                </c:pt>
                <c:pt idx="24">
                  <c:v>City25</c:v>
                </c:pt>
                <c:pt idx="25">
                  <c:v>City26</c:v>
                </c:pt>
                <c:pt idx="26">
                  <c:v>City27</c:v>
                </c:pt>
              </c:strCache>
            </c:strRef>
          </c:cat>
          <c:val>
            <c:numRef>
              <c:f>Sheet1!$H$2:$H$28</c:f>
              <c:numCache>
                <c:formatCode>0</c:formatCode>
                <c:ptCount val="27"/>
                <c:pt idx="0">
                  <c:v>90</c:v>
                </c:pt>
                <c:pt idx="1">
                  <c:v>90</c:v>
                </c:pt>
                <c:pt idx="2">
                  <c:v>90</c:v>
                </c:pt>
                <c:pt idx="3">
                  <c:v>90</c:v>
                </c:pt>
                <c:pt idx="4">
                  <c:v>90</c:v>
                </c:pt>
                <c:pt idx="5">
                  <c:v>90</c:v>
                </c:pt>
                <c:pt idx="6">
                  <c:v>90</c:v>
                </c:pt>
                <c:pt idx="7">
                  <c:v>90</c:v>
                </c:pt>
                <c:pt idx="8">
                  <c:v>90</c:v>
                </c:pt>
                <c:pt idx="9">
                  <c:v>90</c:v>
                </c:pt>
                <c:pt idx="10">
                  <c:v>90</c:v>
                </c:pt>
                <c:pt idx="11">
                  <c:v>90</c:v>
                </c:pt>
                <c:pt idx="12">
                  <c:v>90</c:v>
                </c:pt>
                <c:pt idx="13">
                  <c:v>90</c:v>
                </c:pt>
                <c:pt idx="14">
                  <c:v>90</c:v>
                </c:pt>
                <c:pt idx="15">
                  <c:v>90</c:v>
                </c:pt>
                <c:pt idx="16">
                  <c:v>90</c:v>
                </c:pt>
                <c:pt idx="17">
                  <c:v>90</c:v>
                </c:pt>
                <c:pt idx="18">
                  <c:v>90</c:v>
                </c:pt>
                <c:pt idx="19">
                  <c:v>90</c:v>
                </c:pt>
                <c:pt idx="20">
                  <c:v>90</c:v>
                </c:pt>
                <c:pt idx="21">
                  <c:v>90</c:v>
                </c:pt>
                <c:pt idx="22">
                  <c:v>90</c:v>
                </c:pt>
                <c:pt idx="23">
                  <c:v>90</c:v>
                </c:pt>
                <c:pt idx="24">
                  <c:v>90</c:v>
                </c:pt>
                <c:pt idx="25">
                  <c:v>90</c:v>
                </c:pt>
                <c:pt idx="26">
                  <c:v>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3077-4B3D-99B7-BBC89CD75A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574280"/>
        <c:axId val="417573104"/>
      </c:lineChart>
      <c:catAx>
        <c:axId val="417573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417573496"/>
        <c:crosses val="autoZero"/>
        <c:auto val="1"/>
        <c:lblAlgn val="ctr"/>
        <c:lblOffset val="100"/>
        <c:noMultiLvlLbl val="0"/>
      </c:catAx>
      <c:valAx>
        <c:axId val="417573496"/>
        <c:scaling>
          <c:orientation val="minMax"/>
          <c:max val="1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altLang="zh-CN" dirty="0"/>
                  <a:t>Share</a:t>
                </a:r>
                <a:endParaRPr lang="zh-CN" dirty="0"/>
              </a:p>
            </c:rich>
          </c:tx>
          <c:layout>
            <c:manualLayout>
              <c:xMode val="edge"/>
              <c:yMode val="edge"/>
              <c:x val="9.3689986760504509E-2"/>
              <c:y val="3.5400272566550428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417573888"/>
        <c:crosses val="autoZero"/>
        <c:crossBetween val="between"/>
      </c:valAx>
      <c:valAx>
        <c:axId val="417573104"/>
        <c:scaling>
          <c:orientation val="minMax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altLang="zh-CN" dirty="0"/>
                  <a:t>EV</a:t>
                </a:r>
              </a:p>
            </c:rich>
          </c:tx>
          <c:layout>
            <c:manualLayout>
              <c:xMode val="edge"/>
              <c:yMode val="edge"/>
              <c:x val="0.97336863064530732"/>
              <c:y val="3.6121772258864621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#,##0_);[Red]\(#,##0\)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417574280"/>
        <c:crosses val="max"/>
        <c:crossBetween val="between"/>
      </c:valAx>
      <c:catAx>
        <c:axId val="41757428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17573104"/>
        <c:crosses val="autoZero"/>
        <c:auto val="1"/>
        <c:lblAlgn val="ctr"/>
        <c:lblOffset val="100"/>
        <c:noMultiLvlLbl val="0"/>
      </c:cat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/>
          <a:lstStyle/>
          <a:p>
            <a:pPr rtl="0">
              <a:defRPr sz="700">
                <a:latin typeface="+mj-lt"/>
              </a:defRPr>
            </a:pPr>
            <a:endParaRPr lang="zh-CN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>
          <a:latin typeface="+mj-lt"/>
        </a:defRPr>
      </a:pPr>
      <a:endParaRPr lang="zh-CN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olume(Mn)</c:v>
                </c:pt>
              </c:strCache>
            </c:strRef>
          </c:tx>
          <c:spPr>
            <a:solidFill>
              <a:schemeClr val="bg2">
                <a:lumMod val="90000"/>
              </a:schemeClr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15M04
MAT</c:v>
                </c:pt>
                <c:pt idx="1">
                  <c:v>16M04
MAT</c:v>
                </c:pt>
                <c:pt idx="2">
                  <c:v>17M04
MAT</c:v>
                </c:pt>
                <c:pt idx="3">
                  <c:v>18M04
MAT</c:v>
                </c:pt>
                <c:pt idx="4">
                  <c:v>19M04
MAT</c:v>
                </c:pt>
              </c:strCache>
            </c:strRef>
          </c:cat>
          <c:val>
            <c:numRef>
              <c:f>Sheet1!$B$2:$B$6</c:f>
              <c:numCache>
                <c:formatCode>_ * #,##0_ ;_ * \-#,##0_ ;_ * "-"??_ ;_ @_ </c:formatCode>
                <c:ptCount val="5"/>
                <c:pt idx="0">
                  <c:v>12451</c:v>
                </c:pt>
                <c:pt idx="1">
                  <c:v>15288</c:v>
                </c:pt>
                <c:pt idx="2">
                  <c:v>17749</c:v>
                </c:pt>
                <c:pt idx="3">
                  <c:v>15288</c:v>
                </c:pt>
                <c:pt idx="4">
                  <c:v>177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442-45B7-AFA3-DD35803A81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421375800"/>
        <c:axId val="42137619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%</c:v>
                </c:pt>
              </c:strCache>
            </c:strRef>
          </c:tx>
          <c:spPr>
            <a:ln w="19050" cap="flat" cmpd="sng" algn="ctr">
              <a:solidFill>
                <a:schemeClr val="accent2"/>
              </a:solidFill>
              <a:prstDash val="solid"/>
              <a:miter lim="800000"/>
            </a:ln>
            <a:effectLst/>
          </c:spPr>
          <c:marker>
            <c:symbol val="circle"/>
            <c:size val="4"/>
            <c:spPr>
              <a:ln w="19050">
                <a:solidFill>
                  <a:schemeClr val="accent2"/>
                </a:solidFill>
                <a:prstDash val="solid"/>
              </a:ln>
            </c:spPr>
          </c:marker>
          <c:cat>
            <c:strRef>
              <c:f>Sheet1!$A$2:$A$6</c:f>
              <c:strCache>
                <c:ptCount val="5"/>
                <c:pt idx="0">
                  <c:v>15M04
MAT</c:v>
                </c:pt>
                <c:pt idx="1">
                  <c:v>16M04
MAT</c:v>
                </c:pt>
                <c:pt idx="2">
                  <c:v>17M04
MAT</c:v>
                </c:pt>
                <c:pt idx="3">
                  <c:v>18M04
MAT</c:v>
                </c:pt>
                <c:pt idx="4">
                  <c:v>19M04
MAT</c:v>
                </c:pt>
              </c:strCache>
            </c:strRef>
          </c:cat>
          <c:val>
            <c:numRef>
              <c:f>Sheet1!$C$2:$C$6</c:f>
              <c:numCache>
                <c:formatCode>0%</c:formatCode>
                <c:ptCount val="5"/>
                <c:pt idx="1">
                  <c:v>0.22785318448317393</c:v>
                </c:pt>
                <c:pt idx="2">
                  <c:v>0.16097592883307166</c:v>
                </c:pt>
                <c:pt idx="3">
                  <c:v>-0.13865569891261476</c:v>
                </c:pt>
                <c:pt idx="4">
                  <c:v>0.160975928833071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442-45B7-AFA3-DD35803A81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21376976"/>
        <c:axId val="421376584"/>
      </c:lineChart>
      <c:catAx>
        <c:axId val="4213758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421376192"/>
        <c:crosses val="autoZero"/>
        <c:auto val="1"/>
        <c:lblAlgn val="ctr"/>
        <c:lblOffset val="100"/>
        <c:noMultiLvlLbl val="0"/>
      </c:catAx>
      <c:valAx>
        <c:axId val="421376192"/>
        <c:scaling>
          <c:orientation val="minMax"/>
        </c:scaling>
        <c:delete val="0"/>
        <c:axPos val="l"/>
        <c:numFmt formatCode="#,##0_);[Red]\(#,##0\)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421375800"/>
        <c:crosses val="autoZero"/>
        <c:crossBetween val="between"/>
      </c:valAx>
      <c:valAx>
        <c:axId val="421376584"/>
        <c:scaling>
          <c:orientation val="minMax"/>
        </c:scaling>
        <c:delete val="0"/>
        <c:axPos val="r"/>
        <c:numFmt formatCode="0%" sourceLinked="0"/>
        <c:majorTickMark val="out"/>
        <c:minorTickMark val="none"/>
        <c:tickLblPos val="nextTo"/>
        <c:spPr>
          <a:ln>
            <a:noFill/>
          </a:ln>
        </c:spPr>
        <c:crossAx val="421376976"/>
        <c:crosses val="max"/>
        <c:crossBetween val="between"/>
      </c:valAx>
      <c:catAx>
        <c:axId val="4213769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21376584"/>
        <c:crosses val="autoZero"/>
        <c:auto val="1"/>
        <c:lblAlgn val="ctr"/>
        <c:lblOffset val="100"/>
        <c:noMultiLvlLbl val="0"/>
      </c:cat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vert="horz"/>
          <a:lstStyle/>
          <a:p>
            <a:pPr rtl="0">
              <a:defRPr sz="700"/>
            </a:pPr>
            <a:endParaRPr lang="zh-CN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tx1"/>
          </a:solidFill>
          <a:latin typeface="+mn-lt"/>
        </a:defRPr>
      </a:pPr>
      <a:endParaRPr lang="zh-CN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olume(Mn)</c:v>
                </c:pt>
              </c:strCache>
            </c:strRef>
          </c:tx>
          <c:spPr>
            <a:solidFill>
              <a:schemeClr val="bg2">
                <a:lumMod val="90000"/>
              </a:schemeClr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15M04
YTD</c:v>
                </c:pt>
                <c:pt idx="1">
                  <c:v>16M04
YTD</c:v>
                </c:pt>
                <c:pt idx="2">
                  <c:v>17M04
YTD</c:v>
                </c:pt>
                <c:pt idx="3">
                  <c:v>18M04
YTD</c:v>
                </c:pt>
                <c:pt idx="4">
                  <c:v>19M04
YTD</c:v>
                </c:pt>
              </c:strCache>
            </c:strRef>
          </c:cat>
          <c:val>
            <c:numRef>
              <c:f>Sheet1!$B$2:$B$6</c:f>
              <c:numCache>
                <c:formatCode>_ * #,##0_ ;_ * \-#,##0_ ;_ * "-"??_ ;_ @_ </c:formatCode>
                <c:ptCount val="5"/>
                <c:pt idx="0">
                  <c:v>12451</c:v>
                </c:pt>
                <c:pt idx="1">
                  <c:v>15288</c:v>
                </c:pt>
                <c:pt idx="2">
                  <c:v>17749</c:v>
                </c:pt>
                <c:pt idx="3">
                  <c:v>15288</c:v>
                </c:pt>
                <c:pt idx="4">
                  <c:v>177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331-4102-9BC4-1E0125D842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421371488"/>
        <c:axId val="42137188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%</c:v>
                </c:pt>
              </c:strCache>
            </c:strRef>
          </c:tx>
          <c:spPr>
            <a:ln w="19050" cap="flat" cmpd="sng" algn="ctr">
              <a:solidFill>
                <a:schemeClr val="accent2"/>
              </a:solidFill>
              <a:prstDash val="solid"/>
              <a:miter lim="800000"/>
            </a:ln>
            <a:effectLst/>
          </c:spPr>
          <c:marker>
            <c:symbol val="circle"/>
            <c:size val="4"/>
            <c:spPr>
              <a:ln w="19050">
                <a:solidFill>
                  <a:schemeClr val="accent2"/>
                </a:solidFill>
                <a:prstDash val="solid"/>
              </a:ln>
            </c:spPr>
          </c:marker>
          <c:cat>
            <c:strRef>
              <c:f>Sheet1!$A$2:$A$6</c:f>
              <c:strCache>
                <c:ptCount val="5"/>
                <c:pt idx="0">
                  <c:v>15M04
YTD</c:v>
                </c:pt>
                <c:pt idx="1">
                  <c:v>16M04
YTD</c:v>
                </c:pt>
                <c:pt idx="2">
                  <c:v>17M04
YTD</c:v>
                </c:pt>
                <c:pt idx="3">
                  <c:v>18M04
YTD</c:v>
                </c:pt>
                <c:pt idx="4">
                  <c:v>19M04
YTD</c:v>
                </c:pt>
              </c:strCache>
            </c:strRef>
          </c:cat>
          <c:val>
            <c:numRef>
              <c:f>Sheet1!$C$2:$C$6</c:f>
              <c:numCache>
                <c:formatCode>0%</c:formatCode>
                <c:ptCount val="5"/>
                <c:pt idx="1">
                  <c:v>0.22785318448317393</c:v>
                </c:pt>
                <c:pt idx="2">
                  <c:v>0.16097592883307166</c:v>
                </c:pt>
                <c:pt idx="3">
                  <c:v>-0.13865569891261476</c:v>
                </c:pt>
                <c:pt idx="4">
                  <c:v>0.160975928833071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331-4102-9BC4-1E0125D842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21372664"/>
        <c:axId val="421369920"/>
      </c:lineChart>
      <c:catAx>
        <c:axId val="4213714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421371880"/>
        <c:crosses val="autoZero"/>
        <c:auto val="1"/>
        <c:lblAlgn val="ctr"/>
        <c:lblOffset val="100"/>
        <c:noMultiLvlLbl val="0"/>
      </c:catAx>
      <c:valAx>
        <c:axId val="421371880"/>
        <c:scaling>
          <c:orientation val="minMax"/>
        </c:scaling>
        <c:delete val="0"/>
        <c:axPos val="l"/>
        <c:numFmt formatCode="#,##0_);[Red]\(#,##0\)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421371488"/>
        <c:crosses val="autoZero"/>
        <c:crossBetween val="between"/>
      </c:valAx>
      <c:valAx>
        <c:axId val="421369920"/>
        <c:scaling>
          <c:orientation val="minMax"/>
        </c:scaling>
        <c:delete val="0"/>
        <c:axPos val="r"/>
        <c:numFmt formatCode="0%" sourceLinked="0"/>
        <c:majorTickMark val="out"/>
        <c:minorTickMark val="none"/>
        <c:tickLblPos val="nextTo"/>
        <c:spPr>
          <a:ln>
            <a:noFill/>
          </a:ln>
        </c:spPr>
        <c:crossAx val="421372664"/>
        <c:crosses val="max"/>
        <c:crossBetween val="between"/>
      </c:valAx>
      <c:catAx>
        <c:axId val="42137266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21369920"/>
        <c:crosses val="autoZero"/>
        <c:auto val="1"/>
        <c:lblAlgn val="ctr"/>
        <c:lblOffset val="100"/>
        <c:noMultiLvlLbl val="0"/>
      </c:cat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vert="horz"/>
          <a:lstStyle/>
          <a:p>
            <a:pPr rtl="0">
              <a:defRPr sz="700"/>
            </a:pPr>
            <a:endParaRPr lang="zh-CN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tx1"/>
          </a:solidFill>
          <a:latin typeface="+mn-lt"/>
        </a:defRPr>
      </a:pPr>
      <a:endParaRPr lang="zh-CN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297921698165318E-2"/>
          <c:y val="1.7235319104469106E-2"/>
          <c:w val="0.66972889720599349"/>
          <c:h val="0.8209701584699379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6</c:f>
              <c:strCache>
                <c:ptCount val="1"/>
                <c:pt idx="0">
                  <c:v>Sub-MKT 5</c:v>
                </c:pt>
              </c:strCache>
            </c:strRef>
          </c:tx>
          <c:spPr>
            <a:solidFill>
              <a:srgbClr val="FBEEC9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BC71E389-A4B4-4DFF-8CB4-67EAF7A45F9F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3FE6-4007-9424-00742865B9B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781DD15F-2AAE-46A5-94E3-AE2FF787CC30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0-5463-45B5-908E-86B5A01991A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8350D64D-5973-4F55-9273-B2220A8E0169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5463-45B5-908E-86B5A01991A3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F164F5F9-3129-4AE9-844B-8B6763B0A2AF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5463-45B5-908E-86B5A01991A3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99CEEE56-7002-4794-8F3D-730081D6A5DC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5463-45B5-908E-86B5A01991A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5M04
MAT</c:v>
                </c:pt>
                <c:pt idx="1">
                  <c:v>16M04
MAT</c:v>
                </c:pt>
                <c:pt idx="2">
                  <c:v>17M04
MAT</c:v>
                </c:pt>
                <c:pt idx="3">
                  <c:v>18M04
MAT</c:v>
                </c:pt>
                <c:pt idx="4">
                  <c:v>19M04
MAT</c:v>
                </c:pt>
              </c:strCache>
            </c:strRef>
          </c:cat>
          <c:val>
            <c:numRef>
              <c:f>Sheet1!$B$6:$F$6</c:f>
              <c:numCache>
                <c:formatCode>General</c:formatCode>
                <c:ptCount val="5"/>
                <c:pt idx="0">
                  <c:v>42.4</c:v>
                </c:pt>
                <c:pt idx="1">
                  <c:v>42.4</c:v>
                </c:pt>
                <c:pt idx="2">
                  <c:v>66.099999999999994</c:v>
                </c:pt>
                <c:pt idx="3">
                  <c:v>42.4</c:v>
                </c:pt>
                <c:pt idx="4">
                  <c:v>66.099999999999994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6:$K$6</c15:f>
                <c15:dlblRangeCache>
                  <c:ptCount val="5"/>
                  <c:pt idx="0">
                    <c:v>2%</c:v>
                  </c:pt>
                  <c:pt idx="1">
                    <c:v>1%</c:v>
                  </c:pt>
                  <c:pt idx="2">
                    <c:v>2%</c:v>
                  </c:pt>
                  <c:pt idx="3">
                    <c:v>1%</c:v>
                  </c:pt>
                  <c:pt idx="4">
                    <c:v>2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0-4F4B-4646-B5D6-96A2879FDD66}"/>
            </c:ext>
          </c:extLst>
        </c:ser>
        <c:ser>
          <c:idx val="1"/>
          <c:order val="1"/>
          <c:tx>
            <c:strRef>
              <c:f>Sheet1!$A$5</c:f>
              <c:strCache>
                <c:ptCount val="1"/>
                <c:pt idx="0">
                  <c:v>Sub-MKT 4</c:v>
                </c:pt>
              </c:strCache>
            </c:strRef>
          </c:tx>
          <c:spPr>
            <a:solidFill>
              <a:srgbClr val="FFC42F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44743B32-3F7D-4CDA-82A6-19BA382B88F7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3FE6-4007-9424-00742865B9B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0AE3DA45-3256-45E2-89B9-FE79F790D0FD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5463-45B5-908E-86B5A01991A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C9CCF183-5944-418C-9504-018ABC43C8D6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5463-45B5-908E-86B5A01991A3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0BABD129-B356-4280-A36B-A07C5003F1DE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5463-45B5-908E-86B5A01991A3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1DDD0A0E-4A76-4530-AF9C-52B2F8CA6C57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5463-45B5-908E-86B5A01991A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5M04
MAT</c:v>
                </c:pt>
                <c:pt idx="1">
                  <c:v>16M04
MAT</c:v>
                </c:pt>
                <c:pt idx="2">
                  <c:v>17M04
MAT</c:v>
                </c:pt>
                <c:pt idx="3">
                  <c:v>18M04
MAT</c:v>
                </c:pt>
                <c:pt idx="4">
                  <c:v>19M04
MAT</c:v>
                </c:pt>
              </c:strCache>
            </c:strRef>
          </c:cat>
          <c:val>
            <c:numRef>
              <c:f>Sheet1!$B$5:$F$5</c:f>
              <c:numCache>
                <c:formatCode>General</c:formatCode>
                <c:ptCount val="5"/>
                <c:pt idx="0">
                  <c:v>151.5</c:v>
                </c:pt>
                <c:pt idx="1">
                  <c:v>151.5</c:v>
                </c:pt>
                <c:pt idx="2">
                  <c:v>163.80000000000001</c:v>
                </c:pt>
                <c:pt idx="3">
                  <c:v>151.5</c:v>
                </c:pt>
                <c:pt idx="4">
                  <c:v>163.80000000000001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5:$K$5</c15:f>
                <c15:dlblRangeCache>
                  <c:ptCount val="5"/>
                  <c:pt idx="0">
                    <c:v>5%</c:v>
                  </c:pt>
                  <c:pt idx="1">
                    <c:v>5%</c:v>
                  </c:pt>
                  <c:pt idx="2">
                    <c:v>5%</c:v>
                  </c:pt>
                  <c:pt idx="3">
                    <c:v>5%</c:v>
                  </c:pt>
                  <c:pt idx="4">
                    <c:v>5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1-4F4B-4646-B5D6-96A2879FDD66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Sub-MKT 3</c:v>
                </c:pt>
              </c:strCache>
            </c:strRef>
          </c:tx>
          <c:spPr>
            <a:solidFill>
              <a:srgbClr val="F0A22E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B52DD502-9EF1-47A8-B236-A98C5A438366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3FE6-4007-9424-00742865B9B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93CC7437-A5B9-48DF-B5B4-E49A1C237086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5463-45B5-908E-86B5A01991A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1287184F-C437-4795-9B68-1647B8556E73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5463-45B5-908E-86B5A01991A3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4DD9CB13-53ED-4707-AAF7-7169506173AD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5463-45B5-908E-86B5A01991A3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D7D84673-C74C-4232-9C09-9FF66F9C4A42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5463-45B5-908E-86B5A01991A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5M04
MAT</c:v>
                </c:pt>
                <c:pt idx="1">
                  <c:v>16M04
MAT</c:v>
                </c:pt>
                <c:pt idx="2">
                  <c:v>17M04
MAT</c:v>
                </c:pt>
                <c:pt idx="3">
                  <c:v>18M04
MAT</c:v>
                </c:pt>
                <c:pt idx="4">
                  <c:v>19M04
MAT</c:v>
                </c:pt>
              </c:strCache>
            </c:strRef>
          </c:cat>
          <c:val>
            <c:numRef>
              <c:f>Sheet1!$B$4:$F$4</c:f>
              <c:numCache>
                <c:formatCode>General</c:formatCode>
                <c:ptCount val="5"/>
                <c:pt idx="0">
                  <c:v>563.6</c:v>
                </c:pt>
                <c:pt idx="1">
                  <c:v>563.6</c:v>
                </c:pt>
                <c:pt idx="2">
                  <c:v>653.79999999999995</c:v>
                </c:pt>
                <c:pt idx="3">
                  <c:v>563.6</c:v>
                </c:pt>
                <c:pt idx="4">
                  <c:v>653.79999999999995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4:$K$4</c15:f>
                <c15:dlblRangeCache>
                  <c:ptCount val="5"/>
                  <c:pt idx="0">
                    <c:v>20%</c:v>
                  </c:pt>
                  <c:pt idx="1">
                    <c:v>18%</c:v>
                  </c:pt>
                  <c:pt idx="2">
                    <c:v>18%</c:v>
                  </c:pt>
                  <c:pt idx="3">
                    <c:v>18%</c:v>
                  </c:pt>
                  <c:pt idx="4">
                    <c:v>18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3-4F4B-4646-B5D6-96A2879FDD66}"/>
            </c:ext>
          </c:extLst>
        </c:ser>
        <c:ser>
          <c:idx val="3"/>
          <c:order val="3"/>
          <c:tx>
            <c:strRef>
              <c:f>Sheet1!$A$3</c:f>
              <c:strCache>
                <c:ptCount val="1"/>
                <c:pt idx="0">
                  <c:v>Sub-MKT 2</c:v>
                </c:pt>
              </c:strCache>
            </c:strRef>
          </c:tx>
          <c:spPr>
            <a:solidFill>
              <a:srgbClr val="C3986D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D4184FF5-75D1-4F91-B0CE-F54E1606D795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3FE6-4007-9424-00742865B9B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230FBFAE-F248-4967-BCEE-0BB5F74BD24E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5463-45B5-908E-86B5A01991A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22723B4E-B9CE-4CDD-82D2-029EEDE155BD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5463-45B5-908E-86B5A01991A3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0FD937CF-E0D3-4797-AEFE-EDBBBEC5FB82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5463-45B5-908E-86B5A01991A3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27DB5B2A-AE63-4ED3-AE85-250B73D0E565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5463-45B5-908E-86B5A01991A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5M04
MAT</c:v>
                </c:pt>
                <c:pt idx="1">
                  <c:v>16M04
MAT</c:v>
                </c:pt>
                <c:pt idx="2">
                  <c:v>17M04
MAT</c:v>
                </c:pt>
                <c:pt idx="3">
                  <c:v>18M04
MAT</c:v>
                </c:pt>
                <c:pt idx="4">
                  <c:v>19M04
MAT</c:v>
                </c:pt>
              </c:strCache>
            </c:strRef>
          </c:cat>
          <c:val>
            <c:numRef>
              <c:f>Sheet1!$B$3:$F$3</c:f>
              <c:numCache>
                <c:formatCode>General</c:formatCode>
                <c:ptCount val="5"/>
                <c:pt idx="0">
                  <c:v>753.8</c:v>
                </c:pt>
                <c:pt idx="1">
                  <c:v>753.8</c:v>
                </c:pt>
                <c:pt idx="2">
                  <c:v>842</c:v>
                </c:pt>
                <c:pt idx="3">
                  <c:v>753.8</c:v>
                </c:pt>
                <c:pt idx="4">
                  <c:v>842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3:$K$3</c15:f>
                <c15:dlblRangeCache>
                  <c:ptCount val="5"/>
                  <c:pt idx="0">
                    <c:v>26%</c:v>
                  </c:pt>
                  <c:pt idx="1">
                    <c:v>24%</c:v>
                  </c:pt>
                  <c:pt idx="2">
                    <c:v>24%</c:v>
                  </c:pt>
                  <c:pt idx="3">
                    <c:v>24%</c:v>
                  </c:pt>
                  <c:pt idx="4">
                    <c:v>24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4-4F4B-4646-B5D6-96A2879FDD66}"/>
            </c:ext>
          </c:extLst>
        </c:ser>
        <c:ser>
          <c:idx val="4"/>
          <c:order val="4"/>
          <c:tx>
            <c:strRef>
              <c:f>Sheet1!$A$2</c:f>
              <c:strCache>
                <c:ptCount val="1"/>
                <c:pt idx="0">
                  <c:v>Sub-MKT 1</c:v>
                </c:pt>
              </c:strCache>
            </c:strRef>
          </c:tx>
          <c:spPr>
            <a:solidFill>
              <a:srgbClr val="A5644E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D0CA7CDE-4D39-4010-9B41-DC865567941D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5463-45B5-908E-86B5A01991A3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8B7973BA-2150-4ED3-B5A1-A55B5D813587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5463-45B5-908E-86B5A01991A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2951C0DC-32DD-42F5-8113-D40C54CA23C3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5463-45B5-908E-86B5A01991A3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2690F40D-7FAB-4511-A955-12C5FE835CDB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5463-45B5-908E-86B5A01991A3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DFDB34A7-8EA4-4BED-A741-4A11F03FD322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5463-45B5-908E-86B5A01991A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5M04
MAT</c:v>
                </c:pt>
                <c:pt idx="1">
                  <c:v>16M04
MAT</c:v>
                </c:pt>
                <c:pt idx="2">
                  <c:v>17M04
MAT</c:v>
                </c:pt>
                <c:pt idx="3">
                  <c:v>18M04
MAT</c:v>
                </c:pt>
                <c:pt idx="4">
                  <c:v>19M04
MAT</c:v>
                </c:pt>
              </c:strCache>
            </c:strRef>
          </c:cat>
          <c:val>
            <c:numRef>
              <c:f>Sheet1!$B$2:$F$2</c:f>
              <c:numCache>
                <c:formatCode>General</c:formatCode>
                <c:ptCount val="5"/>
                <c:pt idx="0">
                  <c:v>1679.1</c:v>
                </c:pt>
                <c:pt idx="1">
                  <c:v>1679.1</c:v>
                </c:pt>
                <c:pt idx="2">
                  <c:v>1809.8</c:v>
                </c:pt>
                <c:pt idx="3">
                  <c:v>1679.1</c:v>
                </c:pt>
                <c:pt idx="4">
                  <c:v>1809.8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2:$K$2</c15:f>
                <c15:dlblRangeCache>
                  <c:ptCount val="5"/>
                  <c:pt idx="0">
                    <c:v>57%</c:v>
                  </c:pt>
                  <c:pt idx="1">
                    <c:v>53%</c:v>
                  </c:pt>
                  <c:pt idx="2">
                    <c:v>51%</c:v>
                  </c:pt>
                  <c:pt idx="3">
                    <c:v>53%</c:v>
                  </c:pt>
                  <c:pt idx="4">
                    <c:v>51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5-4F4B-4646-B5D6-96A2879FDD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serLines>
          <c:spPr>
            <a:ln w="9525" cap="flat" cmpd="sng" algn="ctr">
              <a:solidFill>
                <a:schemeClr val="tx1">
                  <a:lumMod val="60000"/>
                  <a:lumOff val="40000"/>
                </a:schemeClr>
              </a:solidFill>
              <a:prstDash val="sysDash"/>
              <a:round/>
            </a:ln>
            <a:effectLst/>
          </c:spPr>
        </c:serLines>
        <c:axId val="536504832"/>
        <c:axId val="536507184"/>
      </c:barChart>
      <c:catAx>
        <c:axId val="536504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36507184"/>
        <c:crosses val="autoZero"/>
        <c:auto val="1"/>
        <c:lblAlgn val="ctr"/>
        <c:lblOffset val="100"/>
        <c:noMultiLvlLbl val="0"/>
      </c:catAx>
      <c:valAx>
        <c:axId val="53650718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365048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5396710109512177"/>
          <c:y val="0.2828724491841399"/>
          <c:w val="0.17821399714114838"/>
          <c:h val="0.5563491009501664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chemeClr val="tx1"/>
          </a:solidFill>
          <a:latin typeface="+mn-lt"/>
        </a:defRPr>
      </a:pPr>
      <a:endParaRPr lang="zh-CN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297921698165318E-2"/>
          <c:y val="1.7235319104469106E-2"/>
          <c:w val="0.66972889720599349"/>
          <c:h val="0.8209701584699379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6</c:f>
              <c:strCache>
                <c:ptCount val="1"/>
                <c:pt idx="0">
                  <c:v>Sub-MKT 5</c:v>
                </c:pt>
              </c:strCache>
            </c:strRef>
          </c:tx>
          <c:spPr>
            <a:solidFill>
              <a:srgbClr val="FBEEC9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EB679788-3F0C-4843-A83C-0D754515A379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3FE6-4007-9424-00742865B9B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0972C504-CA0C-46F5-B7AD-B693CBE6C14E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0-67AB-422B-9EA0-8395C63C88C2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3E54B81B-565C-449C-BCC4-62B368C6590E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67AB-422B-9EA0-8395C63C88C2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59211CAC-02AB-4DAE-B21F-55248B3CB0D1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67AB-422B-9EA0-8395C63C88C2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F5F19974-E7D1-4A41-99F2-D714BA868FBF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67AB-422B-9EA0-8395C63C88C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5M04
MAT</c:v>
                </c:pt>
                <c:pt idx="1">
                  <c:v>16M04
MAT</c:v>
                </c:pt>
                <c:pt idx="2">
                  <c:v>17M04
MAT</c:v>
                </c:pt>
                <c:pt idx="3">
                  <c:v>18M04
MAT</c:v>
                </c:pt>
                <c:pt idx="4">
                  <c:v>19M04
MAT</c:v>
                </c:pt>
              </c:strCache>
            </c:strRef>
          </c:cat>
          <c:val>
            <c:numRef>
              <c:f>Sheet1!$B$6:$F$6</c:f>
              <c:numCache>
                <c:formatCode>General</c:formatCode>
                <c:ptCount val="5"/>
                <c:pt idx="0">
                  <c:v>42.4</c:v>
                </c:pt>
                <c:pt idx="1">
                  <c:v>42.4</c:v>
                </c:pt>
                <c:pt idx="2">
                  <c:v>66.099999999999994</c:v>
                </c:pt>
                <c:pt idx="3">
                  <c:v>42.4</c:v>
                </c:pt>
                <c:pt idx="4">
                  <c:v>66.099999999999994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6:$K$6</c15:f>
                <c15:dlblRangeCache>
                  <c:ptCount val="5"/>
                  <c:pt idx="0">
                    <c:v>2%</c:v>
                  </c:pt>
                  <c:pt idx="1">
                    <c:v>1%</c:v>
                  </c:pt>
                  <c:pt idx="2">
                    <c:v>2%</c:v>
                  </c:pt>
                  <c:pt idx="3">
                    <c:v>1%</c:v>
                  </c:pt>
                  <c:pt idx="4">
                    <c:v>2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0-4F4B-4646-B5D6-96A2879FDD66}"/>
            </c:ext>
          </c:extLst>
        </c:ser>
        <c:ser>
          <c:idx val="1"/>
          <c:order val="1"/>
          <c:tx>
            <c:strRef>
              <c:f>Sheet1!$A$5</c:f>
              <c:strCache>
                <c:ptCount val="1"/>
                <c:pt idx="0">
                  <c:v>Sub-MKT 4</c:v>
                </c:pt>
              </c:strCache>
            </c:strRef>
          </c:tx>
          <c:spPr>
            <a:solidFill>
              <a:srgbClr val="FFC42F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70052C07-FA84-4F85-A5FA-DD6D1F9AF541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3FE6-4007-9424-00742865B9B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5B4BBDB5-D246-41E8-873A-3CF9F4BF77F3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67AB-422B-9EA0-8395C63C88C2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91E5F2B3-51F8-4773-9164-CE088EA2448C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67AB-422B-9EA0-8395C63C88C2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D9C9C4A2-6997-4285-8FEE-8EB0B4CCDC99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67AB-422B-9EA0-8395C63C88C2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0ADD6BBD-095A-44CF-8733-CE6CE439D21D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67AB-422B-9EA0-8395C63C88C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5M04
MAT</c:v>
                </c:pt>
                <c:pt idx="1">
                  <c:v>16M04
MAT</c:v>
                </c:pt>
                <c:pt idx="2">
                  <c:v>17M04
MAT</c:v>
                </c:pt>
                <c:pt idx="3">
                  <c:v>18M04
MAT</c:v>
                </c:pt>
                <c:pt idx="4">
                  <c:v>19M04
MAT</c:v>
                </c:pt>
              </c:strCache>
            </c:strRef>
          </c:cat>
          <c:val>
            <c:numRef>
              <c:f>Sheet1!$B$5:$F$5</c:f>
              <c:numCache>
                <c:formatCode>General</c:formatCode>
                <c:ptCount val="5"/>
                <c:pt idx="0">
                  <c:v>151.5</c:v>
                </c:pt>
                <c:pt idx="1">
                  <c:v>151.5</c:v>
                </c:pt>
                <c:pt idx="2">
                  <c:v>163.80000000000001</c:v>
                </c:pt>
                <c:pt idx="3">
                  <c:v>151.5</c:v>
                </c:pt>
                <c:pt idx="4">
                  <c:v>163.80000000000001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5:$K$5</c15:f>
                <c15:dlblRangeCache>
                  <c:ptCount val="5"/>
                  <c:pt idx="0">
                    <c:v>5%</c:v>
                  </c:pt>
                  <c:pt idx="1">
                    <c:v>5%</c:v>
                  </c:pt>
                  <c:pt idx="2">
                    <c:v>5%</c:v>
                  </c:pt>
                  <c:pt idx="3">
                    <c:v>5%</c:v>
                  </c:pt>
                  <c:pt idx="4">
                    <c:v>5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1-4F4B-4646-B5D6-96A2879FDD66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Sub-MKT 3</c:v>
                </c:pt>
              </c:strCache>
            </c:strRef>
          </c:tx>
          <c:spPr>
            <a:solidFill>
              <a:srgbClr val="F0A22E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26F26B04-9058-4CE8-AEB1-E8AFAC6E951C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3FE6-4007-9424-00742865B9B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13A5745E-CBE3-428B-A0FF-90ECA35F7407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67AB-422B-9EA0-8395C63C88C2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1C115AC4-5D9E-4D06-AD8A-78395EB9C329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67AB-422B-9EA0-8395C63C88C2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6C19D9F7-CB71-4155-9E17-D4279DDD729E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67AB-422B-9EA0-8395C63C88C2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081B665C-1086-4C75-A3E9-26E1761FF89D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67AB-422B-9EA0-8395C63C88C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5M04
MAT</c:v>
                </c:pt>
                <c:pt idx="1">
                  <c:v>16M04
MAT</c:v>
                </c:pt>
                <c:pt idx="2">
                  <c:v>17M04
MAT</c:v>
                </c:pt>
                <c:pt idx="3">
                  <c:v>18M04
MAT</c:v>
                </c:pt>
                <c:pt idx="4">
                  <c:v>19M04
MAT</c:v>
                </c:pt>
              </c:strCache>
            </c:strRef>
          </c:cat>
          <c:val>
            <c:numRef>
              <c:f>Sheet1!$B$4:$F$4</c:f>
              <c:numCache>
                <c:formatCode>General</c:formatCode>
                <c:ptCount val="5"/>
                <c:pt idx="0">
                  <c:v>563.6</c:v>
                </c:pt>
                <c:pt idx="1">
                  <c:v>563.6</c:v>
                </c:pt>
                <c:pt idx="2">
                  <c:v>653.79999999999995</c:v>
                </c:pt>
                <c:pt idx="3">
                  <c:v>563.6</c:v>
                </c:pt>
                <c:pt idx="4">
                  <c:v>653.79999999999995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4:$K$4</c15:f>
                <c15:dlblRangeCache>
                  <c:ptCount val="5"/>
                  <c:pt idx="0">
                    <c:v>20%</c:v>
                  </c:pt>
                  <c:pt idx="1">
                    <c:v>18%</c:v>
                  </c:pt>
                  <c:pt idx="2">
                    <c:v>18%</c:v>
                  </c:pt>
                  <c:pt idx="3">
                    <c:v>18%</c:v>
                  </c:pt>
                  <c:pt idx="4">
                    <c:v>18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3-4F4B-4646-B5D6-96A2879FDD66}"/>
            </c:ext>
          </c:extLst>
        </c:ser>
        <c:ser>
          <c:idx val="3"/>
          <c:order val="3"/>
          <c:tx>
            <c:strRef>
              <c:f>Sheet1!$A$3</c:f>
              <c:strCache>
                <c:ptCount val="1"/>
                <c:pt idx="0">
                  <c:v>Sub-MKT 2</c:v>
                </c:pt>
              </c:strCache>
            </c:strRef>
          </c:tx>
          <c:spPr>
            <a:solidFill>
              <a:srgbClr val="C3986D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0C740260-F790-442D-95E7-E5345657228C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3FE6-4007-9424-00742865B9B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D24EE203-E087-4F47-AF53-2B7969713AFE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67AB-422B-9EA0-8395C63C88C2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B7C33582-BF92-4058-B0C7-B831C9916BE1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67AB-422B-9EA0-8395C63C88C2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E5A4E3C6-7586-4F8A-9CA7-4AA44B774CDE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67AB-422B-9EA0-8395C63C88C2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5F8EB317-4CD0-4856-9A6B-958627DB5AFD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67AB-422B-9EA0-8395C63C88C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5M04
MAT</c:v>
                </c:pt>
                <c:pt idx="1">
                  <c:v>16M04
MAT</c:v>
                </c:pt>
                <c:pt idx="2">
                  <c:v>17M04
MAT</c:v>
                </c:pt>
                <c:pt idx="3">
                  <c:v>18M04
MAT</c:v>
                </c:pt>
                <c:pt idx="4">
                  <c:v>19M04
MAT</c:v>
                </c:pt>
              </c:strCache>
            </c:strRef>
          </c:cat>
          <c:val>
            <c:numRef>
              <c:f>Sheet1!$B$3:$F$3</c:f>
              <c:numCache>
                <c:formatCode>General</c:formatCode>
                <c:ptCount val="5"/>
                <c:pt idx="0">
                  <c:v>753.8</c:v>
                </c:pt>
                <c:pt idx="1">
                  <c:v>753.8</c:v>
                </c:pt>
                <c:pt idx="2">
                  <c:v>842</c:v>
                </c:pt>
                <c:pt idx="3">
                  <c:v>753.8</c:v>
                </c:pt>
                <c:pt idx="4">
                  <c:v>842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3:$K$3</c15:f>
                <c15:dlblRangeCache>
                  <c:ptCount val="5"/>
                  <c:pt idx="0">
                    <c:v>26%</c:v>
                  </c:pt>
                  <c:pt idx="1">
                    <c:v>24%</c:v>
                  </c:pt>
                  <c:pt idx="2">
                    <c:v>24%</c:v>
                  </c:pt>
                  <c:pt idx="3">
                    <c:v>24%</c:v>
                  </c:pt>
                  <c:pt idx="4">
                    <c:v>24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4-4F4B-4646-B5D6-96A2879FDD66}"/>
            </c:ext>
          </c:extLst>
        </c:ser>
        <c:ser>
          <c:idx val="4"/>
          <c:order val="4"/>
          <c:tx>
            <c:strRef>
              <c:f>Sheet1!$A$2</c:f>
              <c:strCache>
                <c:ptCount val="1"/>
                <c:pt idx="0">
                  <c:v>Sub-MKT 1</c:v>
                </c:pt>
              </c:strCache>
            </c:strRef>
          </c:tx>
          <c:spPr>
            <a:solidFill>
              <a:srgbClr val="A5644E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25DB1162-D8E2-46E1-BBA5-C3FF548DAFF5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67AB-422B-9EA0-8395C63C88C2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00C0282C-3FD7-4CB1-A0C4-62B62441193B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67AB-422B-9EA0-8395C63C88C2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133AABF0-479D-4FB9-804B-431177D304AE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67AB-422B-9EA0-8395C63C88C2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4567670C-C8FA-445F-A09F-002E963DC90D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67AB-422B-9EA0-8395C63C88C2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36518FD9-CB68-45E0-9BF2-E4C6DCFEBAA6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67AB-422B-9EA0-8395C63C88C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5M04
MAT</c:v>
                </c:pt>
                <c:pt idx="1">
                  <c:v>16M04
MAT</c:v>
                </c:pt>
                <c:pt idx="2">
                  <c:v>17M04
MAT</c:v>
                </c:pt>
                <c:pt idx="3">
                  <c:v>18M04
MAT</c:v>
                </c:pt>
                <c:pt idx="4">
                  <c:v>19M04
MAT</c:v>
                </c:pt>
              </c:strCache>
            </c:strRef>
          </c:cat>
          <c:val>
            <c:numRef>
              <c:f>Sheet1!$B$2:$F$2</c:f>
              <c:numCache>
                <c:formatCode>General</c:formatCode>
                <c:ptCount val="5"/>
                <c:pt idx="0">
                  <c:v>1679.1</c:v>
                </c:pt>
                <c:pt idx="1">
                  <c:v>1679.1</c:v>
                </c:pt>
                <c:pt idx="2">
                  <c:v>1809.8</c:v>
                </c:pt>
                <c:pt idx="3">
                  <c:v>1679.1</c:v>
                </c:pt>
                <c:pt idx="4">
                  <c:v>1809.8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2:$K$2</c15:f>
                <c15:dlblRangeCache>
                  <c:ptCount val="5"/>
                  <c:pt idx="0">
                    <c:v>57%</c:v>
                  </c:pt>
                  <c:pt idx="1">
                    <c:v>53%</c:v>
                  </c:pt>
                  <c:pt idx="2">
                    <c:v>51%</c:v>
                  </c:pt>
                  <c:pt idx="3">
                    <c:v>53%</c:v>
                  </c:pt>
                  <c:pt idx="4">
                    <c:v>51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5-4F4B-4646-B5D6-96A2879FDD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serLines>
          <c:spPr>
            <a:ln w="9525" cap="flat" cmpd="sng" algn="ctr">
              <a:solidFill>
                <a:schemeClr val="tx1">
                  <a:lumMod val="60000"/>
                  <a:lumOff val="40000"/>
                </a:schemeClr>
              </a:solidFill>
              <a:prstDash val="sysDash"/>
              <a:round/>
            </a:ln>
            <a:effectLst/>
          </c:spPr>
        </c:serLines>
        <c:axId val="536499736"/>
        <c:axId val="536497384"/>
      </c:barChart>
      <c:catAx>
        <c:axId val="5364997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36497384"/>
        <c:crosses val="autoZero"/>
        <c:auto val="1"/>
        <c:lblAlgn val="ctr"/>
        <c:lblOffset val="100"/>
        <c:noMultiLvlLbl val="0"/>
      </c:catAx>
      <c:valAx>
        <c:axId val="53649738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364997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5396710109512177"/>
          <c:y val="0.2828724491841399"/>
          <c:w val="0.17821399714114838"/>
          <c:h val="0.5563491009501664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chemeClr val="tx1"/>
          </a:solidFill>
          <a:latin typeface="+mn-lt"/>
        </a:defRPr>
      </a:pPr>
      <a:endParaRPr lang="zh-CN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297921698165318E-2"/>
          <c:y val="1.7235319104469106E-2"/>
          <c:w val="0.66972889720599349"/>
          <c:h val="0.8209701584699379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6</c:f>
              <c:strCache>
                <c:ptCount val="1"/>
                <c:pt idx="0">
                  <c:v>Sub-MKT 5</c:v>
                </c:pt>
              </c:strCache>
            </c:strRef>
          </c:tx>
          <c:spPr>
            <a:solidFill>
              <a:srgbClr val="FBEEC9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A98AFDF5-CD49-473C-AA04-8DD0099BDA6C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3FE6-4007-9424-00742865B9B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8681F4E5-5F60-4F99-9D89-40901856B6FF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0-1F9C-4F67-A816-BD2CB7CF28A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6EBD2F1D-5602-4829-8875-7145AF237B7A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1F9C-4F67-A816-BD2CB7CF28A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09D4AF04-2449-48D1-B067-67BFC436A601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1F9C-4F67-A816-BD2CB7CF28A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66A09F41-C9BB-47ED-8953-ED9530C52346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1F9C-4F67-A816-BD2CB7CF28A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5M04
YTD</c:v>
                </c:pt>
                <c:pt idx="1">
                  <c:v>16M04
YTD</c:v>
                </c:pt>
                <c:pt idx="2">
                  <c:v>17M04
YTD</c:v>
                </c:pt>
                <c:pt idx="3">
                  <c:v>18M04
YTD</c:v>
                </c:pt>
                <c:pt idx="4">
                  <c:v>19M04
YTD</c:v>
                </c:pt>
              </c:strCache>
            </c:strRef>
          </c:cat>
          <c:val>
            <c:numRef>
              <c:f>Sheet1!$B$6:$F$6</c:f>
              <c:numCache>
                <c:formatCode>General</c:formatCode>
                <c:ptCount val="5"/>
                <c:pt idx="0">
                  <c:v>42.4</c:v>
                </c:pt>
                <c:pt idx="1">
                  <c:v>42.4</c:v>
                </c:pt>
                <c:pt idx="2">
                  <c:v>66.099999999999994</c:v>
                </c:pt>
                <c:pt idx="3">
                  <c:v>42.4</c:v>
                </c:pt>
                <c:pt idx="4">
                  <c:v>66.099999999999994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6:$K$6</c15:f>
                <c15:dlblRangeCache>
                  <c:ptCount val="5"/>
                  <c:pt idx="0">
                    <c:v>2%</c:v>
                  </c:pt>
                  <c:pt idx="1">
                    <c:v>1%</c:v>
                  </c:pt>
                  <c:pt idx="2">
                    <c:v>2%</c:v>
                  </c:pt>
                  <c:pt idx="3">
                    <c:v>1%</c:v>
                  </c:pt>
                  <c:pt idx="4">
                    <c:v>2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0-4F4B-4646-B5D6-96A2879FDD66}"/>
            </c:ext>
          </c:extLst>
        </c:ser>
        <c:ser>
          <c:idx val="1"/>
          <c:order val="1"/>
          <c:tx>
            <c:strRef>
              <c:f>Sheet1!$A$5</c:f>
              <c:strCache>
                <c:ptCount val="1"/>
                <c:pt idx="0">
                  <c:v>Sub-MKT 4</c:v>
                </c:pt>
              </c:strCache>
            </c:strRef>
          </c:tx>
          <c:spPr>
            <a:solidFill>
              <a:srgbClr val="FFC42F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20A02FF9-2FA7-47E6-9E57-192B40B5FB2D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3FE6-4007-9424-00742865B9B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8FD9DA0E-31FA-4CAE-9E29-0E46F6029FC8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1F9C-4F67-A816-BD2CB7CF28A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3D0B9ED2-39F2-4FB7-A97C-3F1CF53CA7A7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1F9C-4F67-A816-BD2CB7CF28A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A52FB299-8460-4011-86DC-3512A4756EE3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1F9C-4F67-A816-BD2CB7CF28A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5AC1D7C4-2004-4954-9DC2-4718DC0B34C2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1F9C-4F67-A816-BD2CB7CF28A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5M04
YTD</c:v>
                </c:pt>
                <c:pt idx="1">
                  <c:v>16M04
YTD</c:v>
                </c:pt>
                <c:pt idx="2">
                  <c:v>17M04
YTD</c:v>
                </c:pt>
                <c:pt idx="3">
                  <c:v>18M04
YTD</c:v>
                </c:pt>
                <c:pt idx="4">
                  <c:v>19M04
YTD</c:v>
                </c:pt>
              </c:strCache>
            </c:strRef>
          </c:cat>
          <c:val>
            <c:numRef>
              <c:f>Sheet1!$B$5:$F$5</c:f>
              <c:numCache>
                <c:formatCode>General</c:formatCode>
                <c:ptCount val="5"/>
                <c:pt idx="0">
                  <c:v>151.5</c:v>
                </c:pt>
                <c:pt idx="1">
                  <c:v>151.5</c:v>
                </c:pt>
                <c:pt idx="2">
                  <c:v>163.80000000000001</c:v>
                </c:pt>
                <c:pt idx="3">
                  <c:v>151.5</c:v>
                </c:pt>
                <c:pt idx="4">
                  <c:v>163.80000000000001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5:$K$5</c15:f>
                <c15:dlblRangeCache>
                  <c:ptCount val="5"/>
                  <c:pt idx="0">
                    <c:v>5%</c:v>
                  </c:pt>
                  <c:pt idx="1">
                    <c:v>5%</c:v>
                  </c:pt>
                  <c:pt idx="2">
                    <c:v>5%</c:v>
                  </c:pt>
                  <c:pt idx="3">
                    <c:v>5%</c:v>
                  </c:pt>
                  <c:pt idx="4">
                    <c:v>5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1-4F4B-4646-B5D6-96A2879FDD66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Sub-MKT 3</c:v>
                </c:pt>
              </c:strCache>
            </c:strRef>
          </c:tx>
          <c:spPr>
            <a:solidFill>
              <a:srgbClr val="F0A22E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CD2105FC-7292-439E-BF5E-790E2D66DD8F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3FE6-4007-9424-00742865B9B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4AE35772-DA87-46F3-8ABF-0A92D975ECD9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1F9C-4F67-A816-BD2CB7CF28A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EB66CB16-2A2B-409A-95AD-4906920F6EC9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1F9C-4F67-A816-BD2CB7CF28A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B651D37A-6F5A-4255-B36F-CDB9643F5428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1F9C-4F67-A816-BD2CB7CF28A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55224143-C3E8-4551-A5F3-2233A74BD8D7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1F9C-4F67-A816-BD2CB7CF28A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5M04
YTD</c:v>
                </c:pt>
                <c:pt idx="1">
                  <c:v>16M04
YTD</c:v>
                </c:pt>
                <c:pt idx="2">
                  <c:v>17M04
YTD</c:v>
                </c:pt>
                <c:pt idx="3">
                  <c:v>18M04
YTD</c:v>
                </c:pt>
                <c:pt idx="4">
                  <c:v>19M04
YTD</c:v>
                </c:pt>
              </c:strCache>
            </c:strRef>
          </c:cat>
          <c:val>
            <c:numRef>
              <c:f>Sheet1!$B$4:$F$4</c:f>
              <c:numCache>
                <c:formatCode>General</c:formatCode>
                <c:ptCount val="5"/>
                <c:pt idx="0">
                  <c:v>563.6</c:v>
                </c:pt>
                <c:pt idx="1">
                  <c:v>563.6</c:v>
                </c:pt>
                <c:pt idx="2">
                  <c:v>653.79999999999995</c:v>
                </c:pt>
                <c:pt idx="3">
                  <c:v>563.6</c:v>
                </c:pt>
                <c:pt idx="4">
                  <c:v>653.79999999999995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4:$K$4</c15:f>
                <c15:dlblRangeCache>
                  <c:ptCount val="5"/>
                  <c:pt idx="0">
                    <c:v>20%</c:v>
                  </c:pt>
                  <c:pt idx="1">
                    <c:v>18%</c:v>
                  </c:pt>
                  <c:pt idx="2">
                    <c:v>18%</c:v>
                  </c:pt>
                  <c:pt idx="3">
                    <c:v>18%</c:v>
                  </c:pt>
                  <c:pt idx="4">
                    <c:v>18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3-4F4B-4646-B5D6-96A2879FDD66}"/>
            </c:ext>
          </c:extLst>
        </c:ser>
        <c:ser>
          <c:idx val="3"/>
          <c:order val="3"/>
          <c:tx>
            <c:strRef>
              <c:f>Sheet1!$A$3</c:f>
              <c:strCache>
                <c:ptCount val="1"/>
                <c:pt idx="0">
                  <c:v>Sub-MKT 2</c:v>
                </c:pt>
              </c:strCache>
            </c:strRef>
          </c:tx>
          <c:spPr>
            <a:solidFill>
              <a:srgbClr val="C3986D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CE2B902B-F507-4AFF-99D1-3027883E507A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3FE6-4007-9424-00742865B9B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7967F07A-EBA4-4A4F-A164-26FC6767FD0B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1F9C-4F67-A816-BD2CB7CF28A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73D1292F-A0B5-4D4F-B10E-6E3785732CAA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1F9C-4F67-A816-BD2CB7CF28A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B0EC94AB-5E95-4330-859A-AAC3CD631F30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1F9C-4F67-A816-BD2CB7CF28A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823B2315-F296-46E7-8859-EDE5614A91FF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1F9C-4F67-A816-BD2CB7CF28A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5M04
YTD</c:v>
                </c:pt>
                <c:pt idx="1">
                  <c:v>16M04
YTD</c:v>
                </c:pt>
                <c:pt idx="2">
                  <c:v>17M04
YTD</c:v>
                </c:pt>
                <c:pt idx="3">
                  <c:v>18M04
YTD</c:v>
                </c:pt>
                <c:pt idx="4">
                  <c:v>19M04
YTD</c:v>
                </c:pt>
              </c:strCache>
            </c:strRef>
          </c:cat>
          <c:val>
            <c:numRef>
              <c:f>Sheet1!$B$3:$F$3</c:f>
              <c:numCache>
                <c:formatCode>General</c:formatCode>
                <c:ptCount val="5"/>
                <c:pt idx="0">
                  <c:v>753.8</c:v>
                </c:pt>
                <c:pt idx="1">
                  <c:v>753.8</c:v>
                </c:pt>
                <c:pt idx="2">
                  <c:v>842</c:v>
                </c:pt>
                <c:pt idx="3">
                  <c:v>753.8</c:v>
                </c:pt>
                <c:pt idx="4">
                  <c:v>842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3:$K$3</c15:f>
                <c15:dlblRangeCache>
                  <c:ptCount val="5"/>
                  <c:pt idx="0">
                    <c:v>26%</c:v>
                  </c:pt>
                  <c:pt idx="1">
                    <c:v>24%</c:v>
                  </c:pt>
                  <c:pt idx="2">
                    <c:v>24%</c:v>
                  </c:pt>
                  <c:pt idx="3">
                    <c:v>24%</c:v>
                  </c:pt>
                  <c:pt idx="4">
                    <c:v>24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4-4F4B-4646-B5D6-96A2879FDD66}"/>
            </c:ext>
          </c:extLst>
        </c:ser>
        <c:ser>
          <c:idx val="4"/>
          <c:order val="4"/>
          <c:tx>
            <c:strRef>
              <c:f>Sheet1!$A$2</c:f>
              <c:strCache>
                <c:ptCount val="1"/>
                <c:pt idx="0">
                  <c:v>Sub-MKT 1</c:v>
                </c:pt>
              </c:strCache>
            </c:strRef>
          </c:tx>
          <c:spPr>
            <a:solidFill>
              <a:srgbClr val="A5644E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EFE67506-156E-4A14-A8BA-9B56BEB53387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1F9C-4F67-A816-BD2CB7CF28A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C64B1061-CCC0-42F2-A7E3-8FF7B9034E90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1F9C-4F67-A816-BD2CB7CF28A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CE15D2DE-4766-4EDF-A4CF-26A747CC06CC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1F9C-4F67-A816-BD2CB7CF28A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1814C2AD-FCFE-4FC6-9774-C75B4FED8EC1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1F9C-4F67-A816-BD2CB7CF28A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B77D23A6-8FB5-47DE-9D16-82FFD8DACDC8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1F9C-4F67-A816-BD2CB7CF28A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5M04
YTD</c:v>
                </c:pt>
                <c:pt idx="1">
                  <c:v>16M04
YTD</c:v>
                </c:pt>
                <c:pt idx="2">
                  <c:v>17M04
YTD</c:v>
                </c:pt>
                <c:pt idx="3">
                  <c:v>18M04
YTD</c:v>
                </c:pt>
                <c:pt idx="4">
                  <c:v>19M04
YTD</c:v>
                </c:pt>
              </c:strCache>
            </c:strRef>
          </c:cat>
          <c:val>
            <c:numRef>
              <c:f>Sheet1!$B$2:$F$2</c:f>
              <c:numCache>
                <c:formatCode>General</c:formatCode>
                <c:ptCount val="5"/>
                <c:pt idx="0">
                  <c:v>1679.1</c:v>
                </c:pt>
                <c:pt idx="1">
                  <c:v>1679.1</c:v>
                </c:pt>
                <c:pt idx="2">
                  <c:v>1809.8</c:v>
                </c:pt>
                <c:pt idx="3">
                  <c:v>1679.1</c:v>
                </c:pt>
                <c:pt idx="4">
                  <c:v>1809.8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2:$K$2</c15:f>
                <c15:dlblRangeCache>
                  <c:ptCount val="5"/>
                  <c:pt idx="0">
                    <c:v>57%</c:v>
                  </c:pt>
                  <c:pt idx="1">
                    <c:v>53%</c:v>
                  </c:pt>
                  <c:pt idx="2">
                    <c:v>51%</c:v>
                  </c:pt>
                  <c:pt idx="3">
                    <c:v>53%</c:v>
                  </c:pt>
                  <c:pt idx="4">
                    <c:v>51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5-4F4B-4646-B5D6-96A2879FDD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serLines>
          <c:spPr>
            <a:ln w="9525" cap="flat" cmpd="sng" algn="ctr">
              <a:solidFill>
                <a:schemeClr val="tx1">
                  <a:lumMod val="60000"/>
                  <a:lumOff val="40000"/>
                </a:schemeClr>
              </a:solidFill>
              <a:prstDash val="sysDash"/>
              <a:round/>
            </a:ln>
            <a:effectLst/>
          </c:spPr>
        </c:serLines>
        <c:axId val="527924776"/>
        <c:axId val="527925168"/>
      </c:barChart>
      <c:catAx>
        <c:axId val="5279247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7925168"/>
        <c:crosses val="autoZero"/>
        <c:auto val="1"/>
        <c:lblAlgn val="ctr"/>
        <c:lblOffset val="100"/>
        <c:noMultiLvlLbl val="0"/>
      </c:catAx>
      <c:valAx>
        <c:axId val="52792516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279247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5396710109512177"/>
          <c:y val="0.2828724491841399"/>
          <c:w val="0.17821399714114838"/>
          <c:h val="0.5563491009501664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chemeClr val="tx1"/>
          </a:solidFill>
          <a:latin typeface="+mn-lt"/>
        </a:defRPr>
      </a:pPr>
      <a:endParaRPr lang="zh-CN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297921698165318E-2"/>
          <c:y val="1.7235319104469106E-2"/>
          <c:w val="0.66972889720599349"/>
          <c:h val="0.8209701584699379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6</c:f>
              <c:strCache>
                <c:ptCount val="1"/>
                <c:pt idx="0">
                  <c:v>Sub-MKT 5</c:v>
                </c:pt>
              </c:strCache>
            </c:strRef>
          </c:tx>
          <c:spPr>
            <a:solidFill>
              <a:srgbClr val="FBEEC9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91F7C350-3CC8-45DA-B3E7-F73416742E4F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3FE6-4007-9424-00742865B9B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E9BDBB26-18A2-46D8-A748-CEC42531A0E3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0-E130-4842-9714-4327FB3426BA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2077AC7C-F789-4492-9C49-CA19225A56C0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E130-4842-9714-4327FB3426BA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F9C757CE-0BBC-459B-B59C-732A4AD00362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E130-4842-9714-4327FB3426BA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6EAB39E9-B748-484C-9CD6-1744D409710F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E130-4842-9714-4327FB3426B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5M04
YTD</c:v>
                </c:pt>
                <c:pt idx="1">
                  <c:v>16M04
YTD</c:v>
                </c:pt>
                <c:pt idx="2">
                  <c:v>17M04
YTD</c:v>
                </c:pt>
                <c:pt idx="3">
                  <c:v>18M04
YTD</c:v>
                </c:pt>
                <c:pt idx="4">
                  <c:v>19M04
YTD</c:v>
                </c:pt>
              </c:strCache>
            </c:strRef>
          </c:cat>
          <c:val>
            <c:numRef>
              <c:f>Sheet1!$B$6:$F$6</c:f>
              <c:numCache>
                <c:formatCode>General</c:formatCode>
                <c:ptCount val="5"/>
                <c:pt idx="0">
                  <c:v>42.4</c:v>
                </c:pt>
                <c:pt idx="1">
                  <c:v>42.4</c:v>
                </c:pt>
                <c:pt idx="2">
                  <c:v>66.099999999999994</c:v>
                </c:pt>
                <c:pt idx="3">
                  <c:v>42.4</c:v>
                </c:pt>
                <c:pt idx="4">
                  <c:v>66.099999999999994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6:$K$6</c15:f>
                <c15:dlblRangeCache>
                  <c:ptCount val="5"/>
                  <c:pt idx="0">
                    <c:v>2%</c:v>
                  </c:pt>
                  <c:pt idx="1">
                    <c:v>1%</c:v>
                  </c:pt>
                  <c:pt idx="2">
                    <c:v>2%</c:v>
                  </c:pt>
                  <c:pt idx="3">
                    <c:v>1%</c:v>
                  </c:pt>
                  <c:pt idx="4">
                    <c:v>2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0-4F4B-4646-B5D6-96A2879FDD66}"/>
            </c:ext>
          </c:extLst>
        </c:ser>
        <c:ser>
          <c:idx val="1"/>
          <c:order val="1"/>
          <c:tx>
            <c:strRef>
              <c:f>Sheet1!$A$5</c:f>
              <c:strCache>
                <c:ptCount val="1"/>
                <c:pt idx="0">
                  <c:v>Sub-MKT 4</c:v>
                </c:pt>
              </c:strCache>
            </c:strRef>
          </c:tx>
          <c:spPr>
            <a:solidFill>
              <a:srgbClr val="FFC42F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0270F0EE-75D5-4ACB-8A75-3FC98DA0C12C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3FE6-4007-9424-00742865B9B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D564A035-985F-4A29-AD16-D72F729BB8A3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E130-4842-9714-4327FB3426BA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6A9F0962-387F-4B83-9704-86DEED8593AF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E130-4842-9714-4327FB3426BA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EB8B2617-7D17-4E24-884B-272BC7092A5D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E130-4842-9714-4327FB3426BA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6CFAF5C1-2EF9-4DDB-ABE8-E5E2C3EEE860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E130-4842-9714-4327FB3426B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5M04
YTD</c:v>
                </c:pt>
                <c:pt idx="1">
                  <c:v>16M04
YTD</c:v>
                </c:pt>
                <c:pt idx="2">
                  <c:v>17M04
YTD</c:v>
                </c:pt>
                <c:pt idx="3">
                  <c:v>18M04
YTD</c:v>
                </c:pt>
                <c:pt idx="4">
                  <c:v>19M04
YTD</c:v>
                </c:pt>
              </c:strCache>
            </c:strRef>
          </c:cat>
          <c:val>
            <c:numRef>
              <c:f>Sheet1!$B$5:$F$5</c:f>
              <c:numCache>
                <c:formatCode>General</c:formatCode>
                <c:ptCount val="5"/>
                <c:pt idx="0">
                  <c:v>151.5</c:v>
                </c:pt>
                <c:pt idx="1">
                  <c:v>151.5</c:v>
                </c:pt>
                <c:pt idx="2">
                  <c:v>163.80000000000001</c:v>
                </c:pt>
                <c:pt idx="3">
                  <c:v>151.5</c:v>
                </c:pt>
                <c:pt idx="4">
                  <c:v>163.80000000000001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5:$K$5</c15:f>
                <c15:dlblRangeCache>
                  <c:ptCount val="5"/>
                  <c:pt idx="0">
                    <c:v>5%</c:v>
                  </c:pt>
                  <c:pt idx="1">
                    <c:v>5%</c:v>
                  </c:pt>
                  <c:pt idx="2">
                    <c:v>5%</c:v>
                  </c:pt>
                  <c:pt idx="3">
                    <c:v>5%</c:v>
                  </c:pt>
                  <c:pt idx="4">
                    <c:v>5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1-4F4B-4646-B5D6-96A2879FDD66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Sub-MKT 3</c:v>
                </c:pt>
              </c:strCache>
            </c:strRef>
          </c:tx>
          <c:spPr>
            <a:solidFill>
              <a:srgbClr val="F0A22E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DED13FC4-BC7F-41C1-8E27-A02986816DC0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3FE6-4007-9424-00742865B9B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61F87BD5-65B0-4C1F-8DA4-79BA9F8EB5C2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E130-4842-9714-4327FB3426BA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2AE1D921-33D1-49FB-96B4-EF51A1560D3D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E130-4842-9714-4327FB3426BA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C1DE2553-73B9-4F93-A8A4-4B6E1AD720D0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E130-4842-9714-4327FB3426BA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CE49B001-4139-465C-A004-6F25C560D5B5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E130-4842-9714-4327FB3426B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5M04
YTD</c:v>
                </c:pt>
                <c:pt idx="1">
                  <c:v>16M04
YTD</c:v>
                </c:pt>
                <c:pt idx="2">
                  <c:v>17M04
YTD</c:v>
                </c:pt>
                <c:pt idx="3">
                  <c:v>18M04
YTD</c:v>
                </c:pt>
                <c:pt idx="4">
                  <c:v>19M04
YTD</c:v>
                </c:pt>
              </c:strCache>
            </c:strRef>
          </c:cat>
          <c:val>
            <c:numRef>
              <c:f>Sheet1!$B$4:$F$4</c:f>
              <c:numCache>
                <c:formatCode>General</c:formatCode>
                <c:ptCount val="5"/>
                <c:pt idx="0">
                  <c:v>563.6</c:v>
                </c:pt>
                <c:pt idx="1">
                  <c:v>563.6</c:v>
                </c:pt>
                <c:pt idx="2">
                  <c:v>653.79999999999995</c:v>
                </c:pt>
                <c:pt idx="3">
                  <c:v>563.6</c:v>
                </c:pt>
                <c:pt idx="4">
                  <c:v>653.79999999999995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4:$K$4</c15:f>
                <c15:dlblRangeCache>
                  <c:ptCount val="5"/>
                  <c:pt idx="0">
                    <c:v>20%</c:v>
                  </c:pt>
                  <c:pt idx="1">
                    <c:v>18%</c:v>
                  </c:pt>
                  <c:pt idx="2">
                    <c:v>18%</c:v>
                  </c:pt>
                  <c:pt idx="3">
                    <c:v>18%</c:v>
                  </c:pt>
                  <c:pt idx="4">
                    <c:v>18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3-4F4B-4646-B5D6-96A2879FDD66}"/>
            </c:ext>
          </c:extLst>
        </c:ser>
        <c:ser>
          <c:idx val="3"/>
          <c:order val="3"/>
          <c:tx>
            <c:strRef>
              <c:f>Sheet1!$A$3</c:f>
              <c:strCache>
                <c:ptCount val="1"/>
                <c:pt idx="0">
                  <c:v>Sub-MKT 2</c:v>
                </c:pt>
              </c:strCache>
            </c:strRef>
          </c:tx>
          <c:spPr>
            <a:solidFill>
              <a:srgbClr val="C3986D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04F7E146-6709-4C80-A5E4-124AD938D46B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3FE6-4007-9424-00742865B9B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D643EC61-B621-4780-A1E5-9E976AB56F72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E130-4842-9714-4327FB3426BA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D6858B62-39C7-4503-A67B-74FD24A80A50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E130-4842-9714-4327FB3426BA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C1AB53D9-CA01-448B-814D-72F53473A218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E130-4842-9714-4327FB3426BA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D2E7C601-F1E9-4B90-9C7A-C9728F32187B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E130-4842-9714-4327FB3426B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5M04
YTD</c:v>
                </c:pt>
                <c:pt idx="1">
                  <c:v>16M04
YTD</c:v>
                </c:pt>
                <c:pt idx="2">
                  <c:v>17M04
YTD</c:v>
                </c:pt>
                <c:pt idx="3">
                  <c:v>18M04
YTD</c:v>
                </c:pt>
                <c:pt idx="4">
                  <c:v>19M04
YTD</c:v>
                </c:pt>
              </c:strCache>
            </c:strRef>
          </c:cat>
          <c:val>
            <c:numRef>
              <c:f>Sheet1!$B$3:$F$3</c:f>
              <c:numCache>
                <c:formatCode>General</c:formatCode>
                <c:ptCount val="5"/>
                <c:pt idx="0">
                  <c:v>753.8</c:v>
                </c:pt>
                <c:pt idx="1">
                  <c:v>753.8</c:v>
                </c:pt>
                <c:pt idx="2">
                  <c:v>842</c:v>
                </c:pt>
                <c:pt idx="3">
                  <c:v>753.8</c:v>
                </c:pt>
                <c:pt idx="4">
                  <c:v>842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3:$K$3</c15:f>
                <c15:dlblRangeCache>
                  <c:ptCount val="5"/>
                  <c:pt idx="0">
                    <c:v>26%</c:v>
                  </c:pt>
                  <c:pt idx="1">
                    <c:v>24%</c:v>
                  </c:pt>
                  <c:pt idx="2">
                    <c:v>24%</c:v>
                  </c:pt>
                  <c:pt idx="3">
                    <c:v>24%</c:v>
                  </c:pt>
                  <c:pt idx="4">
                    <c:v>24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4-4F4B-4646-B5D6-96A2879FDD66}"/>
            </c:ext>
          </c:extLst>
        </c:ser>
        <c:ser>
          <c:idx val="4"/>
          <c:order val="4"/>
          <c:tx>
            <c:strRef>
              <c:f>Sheet1!$A$2</c:f>
              <c:strCache>
                <c:ptCount val="1"/>
                <c:pt idx="0">
                  <c:v>Sub-MKT 1</c:v>
                </c:pt>
              </c:strCache>
            </c:strRef>
          </c:tx>
          <c:spPr>
            <a:solidFill>
              <a:srgbClr val="A5644E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C581C2B6-56B3-4338-A323-8E8DCCCB2E44}" type="CELLRANGE">
                      <a:rPr lang="en-US" altLang="zh-CN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E130-4842-9714-4327FB3426BA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1DDCB370-16D1-4099-818B-964D45EC75DF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E130-4842-9714-4327FB3426BA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7DD3BEAF-01DA-4424-B55D-6040EFAE5F0E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E130-4842-9714-4327FB3426BA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7BC98C33-C172-4EEC-AFD9-FBBABAA0FFFA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E130-4842-9714-4327FB3426BA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1A99638B-78F4-47D8-B6D0-568EA1C2DD6B}" type="CELLRANGE">
                      <a:rPr lang="zh-CN" altLang="en-US"/>
                      <a:pPr/>
                      <a:t>[CELLRANGE]</a:t>
                    </a:fld>
                    <a:endParaRPr lang="zh-CN" alt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E130-4842-9714-4327FB3426B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15M04
YTD</c:v>
                </c:pt>
                <c:pt idx="1">
                  <c:v>16M04
YTD</c:v>
                </c:pt>
                <c:pt idx="2">
                  <c:v>17M04
YTD</c:v>
                </c:pt>
                <c:pt idx="3">
                  <c:v>18M04
YTD</c:v>
                </c:pt>
                <c:pt idx="4">
                  <c:v>19M04
YTD</c:v>
                </c:pt>
              </c:strCache>
            </c:strRef>
          </c:cat>
          <c:val>
            <c:numRef>
              <c:f>Sheet1!$B$2:$F$2</c:f>
              <c:numCache>
                <c:formatCode>General</c:formatCode>
                <c:ptCount val="5"/>
                <c:pt idx="0">
                  <c:v>1679.1</c:v>
                </c:pt>
                <c:pt idx="1">
                  <c:v>1679.1</c:v>
                </c:pt>
                <c:pt idx="2">
                  <c:v>1809.8</c:v>
                </c:pt>
                <c:pt idx="3">
                  <c:v>1679.1</c:v>
                </c:pt>
                <c:pt idx="4">
                  <c:v>1809.8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2:$K$2</c15:f>
                <c15:dlblRangeCache>
                  <c:ptCount val="5"/>
                  <c:pt idx="0">
                    <c:v>57%</c:v>
                  </c:pt>
                  <c:pt idx="1">
                    <c:v>53%</c:v>
                  </c:pt>
                  <c:pt idx="2">
                    <c:v>51%</c:v>
                  </c:pt>
                  <c:pt idx="3">
                    <c:v>53%</c:v>
                  </c:pt>
                  <c:pt idx="4">
                    <c:v>51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5-4F4B-4646-B5D6-96A2879FDD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serLines>
          <c:spPr>
            <a:ln w="9525" cap="flat" cmpd="sng" algn="ctr">
              <a:solidFill>
                <a:schemeClr val="tx1">
                  <a:lumMod val="60000"/>
                  <a:lumOff val="40000"/>
                </a:schemeClr>
              </a:solidFill>
              <a:prstDash val="sysDash"/>
              <a:round/>
            </a:ln>
            <a:effectLst/>
          </c:spPr>
        </c:serLines>
        <c:axId val="527938496"/>
        <c:axId val="536485624"/>
      </c:barChart>
      <c:catAx>
        <c:axId val="527938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36485624"/>
        <c:crosses val="autoZero"/>
        <c:auto val="1"/>
        <c:lblAlgn val="ctr"/>
        <c:lblOffset val="100"/>
        <c:noMultiLvlLbl val="0"/>
      </c:catAx>
      <c:valAx>
        <c:axId val="53648562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279384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5396710109512177"/>
          <c:y val="0.2828724491841399"/>
          <c:w val="0.17821399714114838"/>
          <c:h val="0.5563491009501664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chemeClr val="tx1"/>
          </a:solidFill>
          <a:latin typeface="+mn-lt"/>
        </a:defRPr>
      </a:pPr>
      <a:endParaRPr lang="zh-CN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788451443569554"/>
          <c:y val="2.5095208687149397E-2"/>
          <c:w val="0.85096253877356232"/>
          <c:h val="0.45496423241212502"/>
        </c:manualLayout>
      </c:layout>
      <c:lineChart>
        <c:grouping val="standard"/>
        <c:varyColors val="0"/>
        <c:ser>
          <c:idx val="2"/>
          <c:order val="0"/>
          <c:tx>
            <c:strRef>
              <c:f>Sheet1!$A$2</c:f>
              <c:strCache>
                <c:ptCount val="1"/>
                <c:pt idx="0">
                  <c:v>Molecule 1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3"/>
              </a:solidFill>
              <a:ln w="19050">
                <a:solidFill>
                  <a:schemeClr val="accent3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2:$Y$2</c:f>
              <c:numCache>
                <c:formatCode>0.0</c:formatCode>
                <c:ptCount val="24"/>
                <c:pt idx="0">
                  <c:v>3.3681058007858571</c:v>
                </c:pt>
                <c:pt idx="1">
                  <c:v>3.2782880060910631</c:v>
                </c:pt>
                <c:pt idx="2">
                  <c:v>3.0476069483245198</c:v>
                </c:pt>
                <c:pt idx="3">
                  <c:v>3.034920851669034</c:v>
                </c:pt>
                <c:pt idx="4">
                  <c:v>3.0952222840328991</c:v>
                </c:pt>
                <c:pt idx="5">
                  <c:v>2.8050884580374649</c:v>
                </c:pt>
                <c:pt idx="6">
                  <c:v>3.1006053322974361</c:v>
                </c:pt>
                <c:pt idx="7">
                  <c:v>3.1296643227389591</c:v>
                </c:pt>
                <c:pt idx="8">
                  <c:v>3.1959529893929441</c:v>
                </c:pt>
                <c:pt idx="9">
                  <c:v>3.3524564315141832</c:v>
                </c:pt>
                <c:pt idx="10">
                  <c:v>3.4602927129878531</c:v>
                </c:pt>
                <c:pt idx="11">
                  <c:v>3.0553898735851108</c:v>
                </c:pt>
                <c:pt idx="12">
                  <c:v>3.3681058007858571</c:v>
                </c:pt>
                <c:pt idx="13">
                  <c:v>3.2782880060910631</c:v>
                </c:pt>
                <c:pt idx="14">
                  <c:v>3.0476069483245198</c:v>
                </c:pt>
                <c:pt idx="15">
                  <c:v>3.034920851669034</c:v>
                </c:pt>
                <c:pt idx="16">
                  <c:v>3.0952222840328991</c:v>
                </c:pt>
                <c:pt idx="17">
                  <c:v>2.8050884580374649</c:v>
                </c:pt>
                <c:pt idx="18">
                  <c:v>3.1006053322974361</c:v>
                </c:pt>
                <c:pt idx="19">
                  <c:v>3.1296643227389591</c:v>
                </c:pt>
                <c:pt idx="20">
                  <c:v>3.1959529893929441</c:v>
                </c:pt>
                <c:pt idx="21">
                  <c:v>3.3524564315141832</c:v>
                </c:pt>
                <c:pt idx="22">
                  <c:v>3.4602927129878531</c:v>
                </c:pt>
                <c:pt idx="23">
                  <c:v>3.05538987358511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FEF-45A3-AF7E-81F03622E30C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Molecule 2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2"/>
              </a:solidFill>
              <a:ln w="19050">
                <a:solidFill>
                  <a:schemeClr val="accent2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3:$Y$3</c:f>
              <c:numCache>
                <c:formatCode>0.0</c:formatCode>
                <c:ptCount val="24"/>
                <c:pt idx="0">
                  <c:v>3.2278446708946031</c:v>
                </c:pt>
                <c:pt idx="1">
                  <c:v>3.581541968447727</c:v>
                </c:pt>
                <c:pt idx="2">
                  <c:v>3.0216540314169409</c:v>
                </c:pt>
                <c:pt idx="3">
                  <c:v>3.1342779528827709</c:v>
                </c:pt>
                <c:pt idx="4">
                  <c:v>3.116866452702924</c:v>
                </c:pt>
                <c:pt idx="5">
                  <c:v>2.9115436553497069</c:v>
                </c:pt>
                <c:pt idx="6">
                  <c:v>3.1867767979014721</c:v>
                </c:pt>
                <c:pt idx="7">
                  <c:v>3.2893579411293952</c:v>
                </c:pt>
                <c:pt idx="8">
                  <c:v>3.0248394835742101</c:v>
                </c:pt>
                <c:pt idx="9">
                  <c:v>3.2530527033936179</c:v>
                </c:pt>
                <c:pt idx="10">
                  <c:v>3.100479853064825</c:v>
                </c:pt>
                <c:pt idx="11">
                  <c:v>2.9323136900097819</c:v>
                </c:pt>
                <c:pt idx="12">
                  <c:v>3.2278446708946031</c:v>
                </c:pt>
                <c:pt idx="13">
                  <c:v>3.581541968447727</c:v>
                </c:pt>
                <c:pt idx="14">
                  <c:v>3.0216540314169409</c:v>
                </c:pt>
                <c:pt idx="15">
                  <c:v>3.1342779528827709</c:v>
                </c:pt>
                <c:pt idx="16">
                  <c:v>3.116866452702924</c:v>
                </c:pt>
                <c:pt idx="17">
                  <c:v>2.9115436553497069</c:v>
                </c:pt>
                <c:pt idx="18">
                  <c:v>3.1867767979014721</c:v>
                </c:pt>
                <c:pt idx="19">
                  <c:v>3.2893579411293952</c:v>
                </c:pt>
                <c:pt idx="20">
                  <c:v>3.0248394835742101</c:v>
                </c:pt>
                <c:pt idx="21">
                  <c:v>3.2530527033936179</c:v>
                </c:pt>
                <c:pt idx="22">
                  <c:v>3.100479853064825</c:v>
                </c:pt>
                <c:pt idx="23">
                  <c:v>2.93231369000978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FEF-45A3-AF7E-81F03622E30C}"/>
            </c:ext>
          </c:extLst>
        </c:ser>
        <c:ser>
          <c:idx val="0"/>
          <c:order val="2"/>
          <c:tx>
            <c:strRef>
              <c:f>Sheet1!$A$4</c:f>
              <c:strCache>
                <c:ptCount val="1"/>
                <c:pt idx="0">
                  <c:v>Molecule 3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1"/>
              </a:solidFill>
              <a:ln w="19050">
                <a:solidFill>
                  <a:schemeClr val="accent1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4:$Y$4</c:f>
              <c:numCache>
                <c:formatCode>0.0</c:formatCode>
                <c:ptCount val="24"/>
                <c:pt idx="0">
                  <c:v>1.7847804821175759</c:v>
                </c:pt>
                <c:pt idx="1">
                  <c:v>2.111888947394597</c:v>
                </c:pt>
                <c:pt idx="2">
                  <c:v>1.8388360641427799</c:v>
                </c:pt>
                <c:pt idx="3">
                  <c:v>1.809342480422363</c:v>
                </c:pt>
                <c:pt idx="4">
                  <c:v>1.8850965404279609</c:v>
                </c:pt>
                <c:pt idx="5">
                  <c:v>2.0439093432783011</c:v>
                </c:pt>
                <c:pt idx="6">
                  <c:v>2.0032790270958349</c:v>
                </c:pt>
                <c:pt idx="7">
                  <c:v>2.0617290270597861</c:v>
                </c:pt>
                <c:pt idx="8">
                  <c:v>2.079172443826466</c:v>
                </c:pt>
                <c:pt idx="9">
                  <c:v>2.002013322367743</c:v>
                </c:pt>
                <c:pt idx="10">
                  <c:v>2.0468691250946942</c:v>
                </c:pt>
                <c:pt idx="11">
                  <c:v>2.0618215774310511</c:v>
                </c:pt>
                <c:pt idx="12">
                  <c:v>1.7847804821175759</c:v>
                </c:pt>
                <c:pt idx="13">
                  <c:v>2.111888947394597</c:v>
                </c:pt>
                <c:pt idx="14">
                  <c:v>1.8388360641427799</c:v>
                </c:pt>
                <c:pt idx="15">
                  <c:v>1.809342480422363</c:v>
                </c:pt>
                <c:pt idx="16">
                  <c:v>1.8850965404279609</c:v>
                </c:pt>
                <c:pt idx="17">
                  <c:v>2.0439093432783011</c:v>
                </c:pt>
                <c:pt idx="18">
                  <c:v>2.0032790270958349</c:v>
                </c:pt>
                <c:pt idx="19">
                  <c:v>2.0617290270597861</c:v>
                </c:pt>
                <c:pt idx="20">
                  <c:v>2.079172443826466</c:v>
                </c:pt>
                <c:pt idx="21">
                  <c:v>2.002013322367743</c:v>
                </c:pt>
                <c:pt idx="22">
                  <c:v>2.0468691250946942</c:v>
                </c:pt>
                <c:pt idx="23">
                  <c:v>2.06182157743105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FEF-45A3-AF7E-81F03622E30C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Molecule 4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4"/>
              </a:solidFill>
              <a:ln w="19050">
                <a:solidFill>
                  <a:schemeClr val="accent4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5:$Y$5</c:f>
              <c:numCache>
                <c:formatCode>0.0</c:formatCode>
                <c:ptCount val="24"/>
                <c:pt idx="0">
                  <c:v>1.802197443720859</c:v>
                </c:pt>
                <c:pt idx="1">
                  <c:v>1.926909210732898</c:v>
                </c:pt>
                <c:pt idx="2">
                  <c:v>1.833435665235206</c:v>
                </c:pt>
                <c:pt idx="3">
                  <c:v>1.7826641410930999</c:v>
                </c:pt>
                <c:pt idx="4">
                  <c:v>1.792287523144823</c:v>
                </c:pt>
                <c:pt idx="5">
                  <c:v>1.858171085322661</c:v>
                </c:pt>
                <c:pt idx="6">
                  <c:v>1.7892468639945069</c:v>
                </c:pt>
                <c:pt idx="7">
                  <c:v>1.8455177351331831</c:v>
                </c:pt>
                <c:pt idx="8">
                  <c:v>1.904295498999236</c:v>
                </c:pt>
                <c:pt idx="9">
                  <c:v>1.8534564913513181</c:v>
                </c:pt>
                <c:pt idx="10">
                  <c:v>1.8991475039855359</c:v>
                </c:pt>
                <c:pt idx="11">
                  <c:v>1.86854845571558</c:v>
                </c:pt>
                <c:pt idx="12">
                  <c:v>1.802197443720859</c:v>
                </c:pt>
                <c:pt idx="13">
                  <c:v>1.926909210732898</c:v>
                </c:pt>
                <c:pt idx="14">
                  <c:v>1.833435665235206</c:v>
                </c:pt>
                <c:pt idx="15">
                  <c:v>1.7826641410930999</c:v>
                </c:pt>
                <c:pt idx="16">
                  <c:v>1.792287523144823</c:v>
                </c:pt>
                <c:pt idx="17">
                  <c:v>1.858171085322661</c:v>
                </c:pt>
                <c:pt idx="18">
                  <c:v>1.7892468639945069</c:v>
                </c:pt>
                <c:pt idx="19">
                  <c:v>1.8455177351331831</c:v>
                </c:pt>
                <c:pt idx="20">
                  <c:v>1.904295498999236</c:v>
                </c:pt>
                <c:pt idx="21">
                  <c:v>1.8534564913513181</c:v>
                </c:pt>
                <c:pt idx="22">
                  <c:v>1.8991475039855359</c:v>
                </c:pt>
                <c:pt idx="23">
                  <c:v>1.868548455715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FEF-45A3-AF7E-81F03622E30C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Molecule 5</c:v>
                </c:pt>
              </c:strCache>
            </c:strRef>
          </c:tx>
          <c:spPr>
            <a:ln w="19050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5"/>
              </a:solidFill>
              <a:ln w="19050">
                <a:solidFill>
                  <a:schemeClr val="accent5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6:$Y$6</c:f>
              <c:numCache>
                <c:formatCode>0.0</c:formatCode>
                <c:ptCount val="24"/>
                <c:pt idx="0">
                  <c:v>1.8143248697661101</c:v>
                </c:pt>
                <c:pt idx="1">
                  <c:v>1.927121296416785</c:v>
                </c:pt>
                <c:pt idx="2">
                  <c:v>1.964484491337763</c:v>
                </c:pt>
                <c:pt idx="3">
                  <c:v>1.7177445963905309</c:v>
                </c:pt>
                <c:pt idx="4">
                  <c:v>1.771222322056307</c:v>
                </c:pt>
                <c:pt idx="5">
                  <c:v>1.931888819030217</c:v>
                </c:pt>
                <c:pt idx="6">
                  <c:v>1.8116731196836671</c:v>
                </c:pt>
                <c:pt idx="7">
                  <c:v>1.8112629430438869</c:v>
                </c:pt>
                <c:pt idx="8">
                  <c:v>1.9893948475278911</c:v>
                </c:pt>
                <c:pt idx="9">
                  <c:v>1.7774913331703961</c:v>
                </c:pt>
                <c:pt idx="10">
                  <c:v>1.667622723347691</c:v>
                </c:pt>
                <c:pt idx="11">
                  <c:v>1.5555385458522231</c:v>
                </c:pt>
                <c:pt idx="12">
                  <c:v>1.8143248697661101</c:v>
                </c:pt>
                <c:pt idx="13">
                  <c:v>1.927121296416785</c:v>
                </c:pt>
                <c:pt idx="14">
                  <c:v>1.964484491337763</c:v>
                </c:pt>
                <c:pt idx="15">
                  <c:v>1.7177445963905309</c:v>
                </c:pt>
                <c:pt idx="16">
                  <c:v>1.771222322056307</c:v>
                </c:pt>
                <c:pt idx="17">
                  <c:v>1.931888819030217</c:v>
                </c:pt>
                <c:pt idx="18">
                  <c:v>1.8116731196836671</c:v>
                </c:pt>
                <c:pt idx="19">
                  <c:v>1.8112629430438869</c:v>
                </c:pt>
                <c:pt idx="20">
                  <c:v>1.9893948475278911</c:v>
                </c:pt>
                <c:pt idx="21">
                  <c:v>1.7774913331703961</c:v>
                </c:pt>
                <c:pt idx="22">
                  <c:v>1.667622723347691</c:v>
                </c:pt>
                <c:pt idx="23">
                  <c:v>1.55553854585222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FEF-45A3-AF7E-81F03622E30C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  <c:pt idx="0">
                  <c:v>Molecule 6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6"/>
              </a:solidFill>
              <a:ln w="19050">
                <a:solidFill>
                  <a:schemeClr val="accent6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7:$Y$7</c:f>
              <c:numCache>
                <c:formatCode>0.0</c:formatCode>
                <c:ptCount val="24"/>
                <c:pt idx="0">
                  <c:v>1.191637775159099</c:v>
                </c:pt>
                <c:pt idx="1">
                  <c:v>1.3253380997902049</c:v>
                </c:pt>
                <c:pt idx="2">
                  <c:v>1.353119976573923</c:v>
                </c:pt>
                <c:pt idx="3">
                  <c:v>1.197747126413651</c:v>
                </c:pt>
                <c:pt idx="4">
                  <c:v>1.2445245699690719</c:v>
                </c:pt>
                <c:pt idx="5">
                  <c:v>1.337371296125295</c:v>
                </c:pt>
                <c:pt idx="6">
                  <c:v>1.304545763533308</c:v>
                </c:pt>
                <c:pt idx="7">
                  <c:v>1.3422940824755989</c:v>
                </c:pt>
                <c:pt idx="8">
                  <c:v>1.3514837706473981</c:v>
                </c:pt>
                <c:pt idx="9">
                  <c:v>1.409554791234316</c:v>
                </c:pt>
                <c:pt idx="10">
                  <c:v>1.357508896468413</c:v>
                </c:pt>
                <c:pt idx="11">
                  <c:v>1.2691098429040151</c:v>
                </c:pt>
                <c:pt idx="12">
                  <c:v>1.191637775159099</c:v>
                </c:pt>
                <c:pt idx="13">
                  <c:v>1.3253380997902049</c:v>
                </c:pt>
                <c:pt idx="14">
                  <c:v>1.353119976573923</c:v>
                </c:pt>
                <c:pt idx="15">
                  <c:v>1.197747126413651</c:v>
                </c:pt>
                <c:pt idx="16">
                  <c:v>1.2445245699690719</c:v>
                </c:pt>
                <c:pt idx="17">
                  <c:v>1.337371296125295</c:v>
                </c:pt>
                <c:pt idx="18">
                  <c:v>1.304545763533308</c:v>
                </c:pt>
                <c:pt idx="19">
                  <c:v>1.3422940824755989</c:v>
                </c:pt>
                <c:pt idx="20">
                  <c:v>1.3514837706473981</c:v>
                </c:pt>
                <c:pt idx="21">
                  <c:v>1.409554791234316</c:v>
                </c:pt>
                <c:pt idx="22">
                  <c:v>1.357508896468413</c:v>
                </c:pt>
                <c:pt idx="23">
                  <c:v>1.26910984290401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FEF-45A3-AF7E-81F03622E30C}"/>
            </c:ext>
          </c:extLst>
        </c:ser>
        <c:ser>
          <c:idx val="6"/>
          <c:order val="6"/>
          <c:tx>
            <c:strRef>
              <c:f>Sheet1!$A$8</c:f>
              <c:strCache>
                <c:ptCount val="1"/>
                <c:pt idx="0">
                  <c:v>Molecule 7</c:v>
                </c:pt>
              </c:strCache>
            </c:strRef>
          </c:tx>
          <c:spPr>
            <a:ln w="19050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accent1">
                    <a:lumMod val="60000"/>
                  </a:schemeClr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8:$Y$8</c:f>
              <c:numCache>
                <c:formatCode>0.0</c:formatCode>
                <c:ptCount val="24"/>
                <c:pt idx="0">
                  <c:v>1.1310414046716619</c:v>
                </c:pt>
                <c:pt idx="1">
                  <c:v>1.2462872344321489</c:v>
                </c:pt>
                <c:pt idx="2">
                  <c:v>1.188060760335933</c:v>
                </c:pt>
                <c:pt idx="3">
                  <c:v>1.146472560793337</c:v>
                </c:pt>
                <c:pt idx="4">
                  <c:v>1.1673670756914569</c:v>
                </c:pt>
                <c:pt idx="5">
                  <c:v>1.2317662926694779</c:v>
                </c:pt>
                <c:pt idx="6">
                  <c:v>1.205745067579912</c:v>
                </c:pt>
                <c:pt idx="7">
                  <c:v>1.279088886555948</c:v>
                </c:pt>
                <c:pt idx="8">
                  <c:v>1.306673226283575</c:v>
                </c:pt>
                <c:pt idx="9">
                  <c:v>1.2355803564088479</c:v>
                </c:pt>
                <c:pt idx="10">
                  <c:v>1.255491984891064</c:v>
                </c:pt>
                <c:pt idx="11">
                  <c:v>1.2830488268451441</c:v>
                </c:pt>
                <c:pt idx="12">
                  <c:v>1.1310414046716619</c:v>
                </c:pt>
                <c:pt idx="13">
                  <c:v>1.2462872344321489</c:v>
                </c:pt>
                <c:pt idx="14">
                  <c:v>1.188060760335933</c:v>
                </c:pt>
                <c:pt idx="15">
                  <c:v>1.146472560793337</c:v>
                </c:pt>
                <c:pt idx="16">
                  <c:v>1.1673670756914569</c:v>
                </c:pt>
                <c:pt idx="17">
                  <c:v>1.2317662926694779</c:v>
                </c:pt>
                <c:pt idx="18">
                  <c:v>1.205745067579912</c:v>
                </c:pt>
                <c:pt idx="19">
                  <c:v>1.279088886555948</c:v>
                </c:pt>
                <c:pt idx="20">
                  <c:v>1.306673226283575</c:v>
                </c:pt>
                <c:pt idx="21">
                  <c:v>1.2355803564088479</c:v>
                </c:pt>
                <c:pt idx="22">
                  <c:v>1.255491984891064</c:v>
                </c:pt>
                <c:pt idx="23">
                  <c:v>1.28304882684514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FFEF-45A3-AF7E-81F03622E30C}"/>
            </c:ext>
          </c:extLst>
        </c:ser>
        <c:ser>
          <c:idx val="7"/>
          <c:order val="7"/>
          <c:tx>
            <c:strRef>
              <c:f>Sheet1!$A$9</c:f>
              <c:strCache>
                <c:ptCount val="1"/>
                <c:pt idx="0">
                  <c:v>Molecule 8</c:v>
                </c:pt>
              </c:strCache>
            </c:strRef>
          </c:tx>
          <c:spPr>
            <a:ln w="19050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accent2">
                    <a:lumMod val="60000"/>
                  </a:schemeClr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9:$Y$9</c:f>
              <c:numCache>
                <c:formatCode>0.0</c:formatCode>
                <c:ptCount val="24"/>
                <c:pt idx="0">
                  <c:v>0.94644718862103816</c:v>
                </c:pt>
                <c:pt idx="1">
                  <c:v>0.91867780792933462</c:v>
                </c:pt>
                <c:pt idx="2">
                  <c:v>0.99873193058063225</c:v>
                </c:pt>
                <c:pt idx="3">
                  <c:v>0.88104765680278363</c:v>
                </c:pt>
                <c:pt idx="4">
                  <c:v>0.92707552109644908</c:v>
                </c:pt>
                <c:pt idx="5">
                  <c:v>1.047793957003754</c:v>
                </c:pt>
                <c:pt idx="6">
                  <c:v>0.91672532439445265</c:v>
                </c:pt>
                <c:pt idx="7">
                  <c:v>0.95237387648011285</c:v>
                </c:pt>
                <c:pt idx="8">
                  <c:v>1.0457055763565399</c:v>
                </c:pt>
                <c:pt idx="9">
                  <c:v>0.99618968146352871</c:v>
                </c:pt>
                <c:pt idx="10">
                  <c:v>0.92501578762885284</c:v>
                </c:pt>
                <c:pt idx="11">
                  <c:v>0.9608972266945045</c:v>
                </c:pt>
                <c:pt idx="12">
                  <c:v>0.94644718862103816</c:v>
                </c:pt>
                <c:pt idx="13">
                  <c:v>0.91867780792933462</c:v>
                </c:pt>
                <c:pt idx="14">
                  <c:v>0.99873193058063225</c:v>
                </c:pt>
                <c:pt idx="15">
                  <c:v>0.88104765680278363</c:v>
                </c:pt>
                <c:pt idx="16">
                  <c:v>0.92707552109644908</c:v>
                </c:pt>
                <c:pt idx="17">
                  <c:v>1.047793957003754</c:v>
                </c:pt>
                <c:pt idx="18">
                  <c:v>0.91672532439445265</c:v>
                </c:pt>
                <c:pt idx="19">
                  <c:v>0.95237387648011285</c:v>
                </c:pt>
                <c:pt idx="20">
                  <c:v>1.0457055763565399</c:v>
                </c:pt>
                <c:pt idx="21">
                  <c:v>0.99618968146352871</c:v>
                </c:pt>
                <c:pt idx="22">
                  <c:v>0.92501578762885284</c:v>
                </c:pt>
                <c:pt idx="23">
                  <c:v>0.96089722669450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FFEF-45A3-AF7E-81F03622E30C}"/>
            </c:ext>
          </c:extLst>
        </c:ser>
        <c:ser>
          <c:idx val="8"/>
          <c:order val="8"/>
          <c:tx>
            <c:strRef>
              <c:f>Sheet1!$A$10</c:f>
              <c:strCache>
                <c:ptCount val="1"/>
                <c:pt idx="0">
                  <c:v>Molecule 9</c:v>
                </c:pt>
              </c:strCache>
            </c:strRef>
          </c:tx>
          <c:spPr>
            <a:ln w="19050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accent3">
                    <a:lumMod val="60000"/>
                  </a:schemeClr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10:$Y$10</c:f>
              <c:numCache>
                <c:formatCode>0.0</c:formatCode>
                <c:ptCount val="24"/>
                <c:pt idx="0">
                  <c:v>0.57084972240940424</c:v>
                </c:pt>
                <c:pt idx="1">
                  <c:v>0.59545141869740004</c:v>
                </c:pt>
                <c:pt idx="2">
                  <c:v>0.61879568902477367</c:v>
                </c:pt>
                <c:pt idx="3">
                  <c:v>0.65554244338141121</c:v>
                </c:pt>
                <c:pt idx="4">
                  <c:v>0.69319488184960787</c:v>
                </c:pt>
                <c:pt idx="5">
                  <c:v>0.6886205174012775</c:v>
                </c:pt>
                <c:pt idx="6">
                  <c:v>0.72427565003328553</c:v>
                </c:pt>
                <c:pt idx="7">
                  <c:v>0.72076609675008241</c:v>
                </c:pt>
                <c:pt idx="8">
                  <c:v>0.73456490737579638</c:v>
                </c:pt>
                <c:pt idx="9">
                  <c:v>0.71839276887508263</c:v>
                </c:pt>
                <c:pt idx="10">
                  <c:v>0.7115688644112278</c:v>
                </c:pt>
                <c:pt idx="11">
                  <c:v>0.74217276630032025</c:v>
                </c:pt>
                <c:pt idx="12">
                  <c:v>0.57084972240940424</c:v>
                </c:pt>
                <c:pt idx="13">
                  <c:v>0.59545141869740004</c:v>
                </c:pt>
                <c:pt idx="14">
                  <c:v>0.61879568902477367</c:v>
                </c:pt>
                <c:pt idx="15">
                  <c:v>0.65554244338141121</c:v>
                </c:pt>
                <c:pt idx="16">
                  <c:v>0.69319488184960787</c:v>
                </c:pt>
                <c:pt idx="17">
                  <c:v>0.6886205174012775</c:v>
                </c:pt>
                <c:pt idx="18">
                  <c:v>0.72427565003328553</c:v>
                </c:pt>
                <c:pt idx="19">
                  <c:v>0.72076609675008241</c:v>
                </c:pt>
                <c:pt idx="20">
                  <c:v>0.73456490737579638</c:v>
                </c:pt>
                <c:pt idx="21">
                  <c:v>0.71839276887508263</c:v>
                </c:pt>
                <c:pt idx="22">
                  <c:v>0.7115688644112278</c:v>
                </c:pt>
                <c:pt idx="23">
                  <c:v>0.742172766300320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FFEF-45A3-AF7E-81F03622E30C}"/>
            </c:ext>
          </c:extLst>
        </c:ser>
        <c:ser>
          <c:idx val="9"/>
          <c:order val="9"/>
          <c:tx>
            <c:strRef>
              <c:f>Sheet1!$A$11</c:f>
              <c:strCache>
                <c:ptCount val="1"/>
                <c:pt idx="0">
                  <c:v>Molecule 10</c:v>
                </c:pt>
              </c:strCache>
            </c:strRef>
          </c:tx>
          <c:spPr>
            <a:ln w="19050" cap="rnd">
              <a:solidFill>
                <a:srgbClr val="1482AC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rgbClr val="1482AC"/>
              </a:solidFill>
              <a:ln w="19050">
                <a:solidFill>
                  <a:srgbClr val="1482AC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11:$Y$11</c:f>
              <c:numCache>
                <c:formatCode>0.0</c:formatCode>
                <c:ptCount val="24"/>
                <c:pt idx="0">
                  <c:v>0.6412040729748939</c:v>
                </c:pt>
                <c:pt idx="1">
                  <c:v>0.63351079917111608</c:v>
                </c:pt>
                <c:pt idx="2">
                  <c:v>0.5768480301566753</c:v>
                </c:pt>
                <c:pt idx="3">
                  <c:v>0.61365384383555988</c:v>
                </c:pt>
                <c:pt idx="4">
                  <c:v>0.58595849847294246</c:v>
                </c:pt>
                <c:pt idx="5">
                  <c:v>0.62346865751417502</c:v>
                </c:pt>
                <c:pt idx="6">
                  <c:v>0.59299707170810478</c:v>
                </c:pt>
                <c:pt idx="7">
                  <c:v>0.62781903644583481</c:v>
                </c:pt>
                <c:pt idx="8">
                  <c:v>0.64817824689151193</c:v>
                </c:pt>
                <c:pt idx="9">
                  <c:v>0.68020035011213753</c:v>
                </c:pt>
                <c:pt idx="10">
                  <c:v>0.68879940310144538</c:v>
                </c:pt>
                <c:pt idx="11">
                  <c:v>0.65374384701341337</c:v>
                </c:pt>
                <c:pt idx="12">
                  <c:v>0.6412040729748939</c:v>
                </c:pt>
                <c:pt idx="13">
                  <c:v>0.63351079917111608</c:v>
                </c:pt>
                <c:pt idx="14">
                  <c:v>0.5768480301566753</c:v>
                </c:pt>
                <c:pt idx="15">
                  <c:v>0.61365384383555988</c:v>
                </c:pt>
                <c:pt idx="16">
                  <c:v>0.58595849847294246</c:v>
                </c:pt>
                <c:pt idx="17">
                  <c:v>0.62346865751417502</c:v>
                </c:pt>
                <c:pt idx="18">
                  <c:v>0.59299707170810478</c:v>
                </c:pt>
                <c:pt idx="19">
                  <c:v>0.62781903644583481</c:v>
                </c:pt>
                <c:pt idx="20">
                  <c:v>0.64817824689151193</c:v>
                </c:pt>
                <c:pt idx="21">
                  <c:v>0.68020035011213753</c:v>
                </c:pt>
                <c:pt idx="22">
                  <c:v>0.68879940310144538</c:v>
                </c:pt>
                <c:pt idx="23">
                  <c:v>0.653743847013413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FFEF-45A3-AF7E-81F03622E30C}"/>
            </c:ext>
          </c:extLst>
        </c:ser>
        <c:ser>
          <c:idx val="10"/>
          <c:order val="10"/>
          <c:tx>
            <c:strRef>
              <c:f>Sheet1!$A$12</c:f>
              <c:strCache>
                <c:ptCount val="1"/>
                <c:pt idx="0">
                  <c:v>Others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accent6"/>
              </a:solidFill>
              <a:ln w="19050">
                <a:solidFill>
                  <a:schemeClr val="accent6"/>
                </a:solidFill>
              </a:ln>
              <a:effectLst/>
            </c:spPr>
          </c:marker>
          <c:cat>
            <c:strRef>
              <c:f>Sheet1!$B$1:$Y$1</c:f>
              <c:strCache>
                <c:ptCount val="24"/>
                <c:pt idx="0">
                  <c:v>M01 18</c:v>
                </c:pt>
                <c:pt idx="1">
                  <c:v>M02 18</c:v>
                </c:pt>
                <c:pt idx="2">
                  <c:v>M03 18</c:v>
                </c:pt>
                <c:pt idx="3">
                  <c:v>M04 18</c:v>
                </c:pt>
                <c:pt idx="4">
                  <c:v>M05 18</c:v>
                </c:pt>
                <c:pt idx="5">
                  <c:v>M06 18</c:v>
                </c:pt>
                <c:pt idx="6">
                  <c:v>M07 18</c:v>
                </c:pt>
                <c:pt idx="7">
                  <c:v>M08 18</c:v>
                </c:pt>
                <c:pt idx="8">
                  <c:v>M09 18</c:v>
                </c:pt>
                <c:pt idx="9">
                  <c:v>M10 18</c:v>
                </c:pt>
                <c:pt idx="10">
                  <c:v>M11 18</c:v>
                </c:pt>
                <c:pt idx="11">
                  <c:v>M12 18</c:v>
                </c:pt>
                <c:pt idx="12">
                  <c:v>M01 19</c:v>
                </c:pt>
                <c:pt idx="13">
                  <c:v>M02 19</c:v>
                </c:pt>
                <c:pt idx="14">
                  <c:v>M03 19</c:v>
                </c:pt>
                <c:pt idx="15">
                  <c:v>M04 19</c:v>
                </c:pt>
                <c:pt idx="16">
                  <c:v>M05 19</c:v>
                </c:pt>
                <c:pt idx="17">
                  <c:v>M06 19</c:v>
                </c:pt>
                <c:pt idx="18">
                  <c:v>M07 19</c:v>
                </c:pt>
                <c:pt idx="19">
                  <c:v>M08 19</c:v>
                </c:pt>
                <c:pt idx="20">
                  <c:v>M09 19</c:v>
                </c:pt>
                <c:pt idx="21">
                  <c:v>M10 19</c:v>
                </c:pt>
                <c:pt idx="22">
                  <c:v>M11 19</c:v>
                </c:pt>
                <c:pt idx="23">
                  <c:v>M12 19</c:v>
                </c:pt>
              </c:strCache>
            </c:strRef>
          </c:cat>
          <c:val>
            <c:numRef>
              <c:f>Sheet1!$B$12:$Y$12</c:f>
              <c:numCache>
                <c:formatCode>0.0</c:formatCode>
                <c:ptCount val="24"/>
                <c:pt idx="0">
                  <c:v>0.57288930640820601</c:v>
                </c:pt>
                <c:pt idx="1">
                  <c:v>0.60380664275974827</c:v>
                </c:pt>
                <c:pt idx="2">
                  <c:v>0.58587628353508692</c:v>
                </c:pt>
                <c:pt idx="3">
                  <c:v>0.55075661766040274</c:v>
                </c:pt>
                <c:pt idx="4">
                  <c:v>0.56300887777178465</c:v>
                </c:pt>
                <c:pt idx="5">
                  <c:v>0.58863714930102606</c:v>
                </c:pt>
                <c:pt idx="6">
                  <c:v>0.57075511241875698</c:v>
                </c:pt>
                <c:pt idx="7">
                  <c:v>0.57358572447108247</c:v>
                </c:pt>
                <c:pt idx="8">
                  <c:v>0.58915251145581116</c:v>
                </c:pt>
                <c:pt idx="9">
                  <c:v>0.56843944160490156</c:v>
                </c:pt>
                <c:pt idx="10">
                  <c:v>0.58022815339207623</c:v>
                </c:pt>
                <c:pt idx="11">
                  <c:v>0.6104943074891761</c:v>
                </c:pt>
                <c:pt idx="12">
                  <c:v>0.57288930640820601</c:v>
                </c:pt>
                <c:pt idx="13">
                  <c:v>0.60380664275974827</c:v>
                </c:pt>
                <c:pt idx="14">
                  <c:v>0.58587628353508692</c:v>
                </c:pt>
                <c:pt idx="15">
                  <c:v>0.55075661766040274</c:v>
                </c:pt>
                <c:pt idx="16">
                  <c:v>0.56300887777178465</c:v>
                </c:pt>
                <c:pt idx="17">
                  <c:v>0.58863714930102606</c:v>
                </c:pt>
                <c:pt idx="18">
                  <c:v>0.57075511241875698</c:v>
                </c:pt>
                <c:pt idx="19">
                  <c:v>0.57358572447108247</c:v>
                </c:pt>
                <c:pt idx="20">
                  <c:v>0.58915251145581116</c:v>
                </c:pt>
                <c:pt idx="21">
                  <c:v>0.56843944160490156</c:v>
                </c:pt>
                <c:pt idx="22">
                  <c:v>0.58022815339207623</c:v>
                </c:pt>
                <c:pt idx="23">
                  <c:v>0.6104943074891761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A-FFEF-45A3-AF7E-81F03622E3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22142960"/>
        <c:axId val="422146488"/>
        <c:extLst/>
      </c:lineChart>
      <c:catAx>
        <c:axId val="42214296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22146488"/>
        <c:crosses val="autoZero"/>
        <c:auto val="1"/>
        <c:lblAlgn val="ctr"/>
        <c:lblOffset val="100"/>
        <c:noMultiLvlLbl val="0"/>
      </c:catAx>
      <c:valAx>
        <c:axId val="42214648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Value (</a:t>
                </a:r>
                <a:r>
                  <a:rPr lang="en-US" dirty="0" err="1"/>
                  <a:t>Mn</a:t>
                </a:r>
                <a:r>
                  <a:rPr lang="en-US" dirty="0"/>
                  <a:t>)</a:t>
                </a:r>
              </a:p>
            </c:rich>
          </c:tx>
          <c:layout>
            <c:manualLayout>
              <c:xMode val="edge"/>
              <c:yMode val="edge"/>
              <c:x val="6.1916845621570037E-2"/>
              <c:y val="6.8492289299525194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7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#,##0.00_ 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22142960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>
          <a:solidFill>
            <a:schemeClr val="tx1"/>
          </a:solidFill>
          <a:latin typeface="+mn-lt"/>
        </a:defRPr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colors14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colors2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colors3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colors4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image" Target="../media/image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6.v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image" Target="../media/image6.emf"/></Relationships>
</file>

<file path=ppt/drawings/_rels/vmlDrawing27.v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image" Target="../media/image6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image" Target="../media/image6.emf"/></Relationships>
</file>

<file path=ppt/drawings/_rels/vmlDrawing3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image" Target="../media/image6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5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20.emf"/></Relationships>
</file>

<file path=ppt/drawings/_rels/vmlDrawing36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21.emf"/></Relationships>
</file>

<file path=ppt/drawings/_rels/vmlDrawing37.v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image" Target="../media/image6.emf"/></Relationships>
</file>

<file path=ppt/drawings/_rels/vmlDrawing38.v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image" Target="../media/image6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1.v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emf"/><Relationship Id="rId1" Type="http://schemas.openxmlformats.org/officeDocument/2006/relationships/image" Target="../media/image6.emf"/></Relationships>
</file>

<file path=ppt/drawings/_rels/vmlDrawing42.v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image" Target="../media/image6.emf"/></Relationships>
</file>

<file path=ppt/drawings/_rels/vmlDrawing43.v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image" Target="../media/image27.emf"/><Relationship Id="rId1" Type="http://schemas.openxmlformats.org/officeDocument/2006/relationships/image" Target="../media/image6.emf"/></Relationships>
</file>

<file path=ppt/drawings/_rels/vmlDrawing44.v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image" Target="../media/image6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0258D82-B7D3-4BEA-8B33-ADE4C5E4DB23}" type="datetimeFigureOut">
              <a:rPr lang="zh-CN" altLang="en-US" smtClean="0"/>
              <a:pPr/>
              <a:t>2020/5/8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3B6267-14AF-4555-9CB2-9773EED2D1EA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8032437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smtClean="0">
                <a:latin typeface="Arial" charset="0"/>
              </a:defRPr>
            </a:lvl1pPr>
          </a:lstStyle>
          <a:p>
            <a:pPr>
              <a:defRPr/>
            </a:pPr>
            <a:endParaRPr lang="en-US" altLang="zh-CN" dirty="0"/>
          </a:p>
        </p:txBody>
      </p:sp>
      <p:sp>
        <p:nvSpPr>
          <p:cNvPr id="2355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Arial" charset="0"/>
              </a:defRPr>
            </a:lvl1pPr>
          </a:lstStyle>
          <a:p>
            <a:pPr>
              <a:defRPr/>
            </a:pPr>
            <a:endParaRPr lang="en-US" altLang="zh-CN" dirty="0"/>
          </a:p>
        </p:txBody>
      </p:sp>
      <p:sp>
        <p:nvSpPr>
          <p:cNvPr id="1434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81000" y="685800"/>
            <a:ext cx="6096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55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</a:p>
        </p:txBody>
      </p:sp>
      <p:sp>
        <p:nvSpPr>
          <p:cNvPr id="2355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smtClean="0">
                <a:latin typeface="Arial" charset="0"/>
              </a:defRPr>
            </a:lvl1pPr>
          </a:lstStyle>
          <a:p>
            <a:pPr>
              <a:defRPr/>
            </a:pPr>
            <a:endParaRPr lang="en-US" altLang="zh-CN" dirty="0"/>
          </a:p>
        </p:txBody>
      </p:sp>
      <p:sp>
        <p:nvSpPr>
          <p:cNvPr id="2355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Arial" charset="0"/>
              </a:defRPr>
            </a:lvl1pPr>
          </a:lstStyle>
          <a:p>
            <a:pPr>
              <a:defRPr/>
            </a:pPr>
            <a:fld id="{4BB1E942-0221-46FE-AC80-0A2184A6B6A0}" type="slidenum">
              <a:rPr lang="en-US" altLang="zh-CN"/>
              <a:pPr>
                <a:defRPr/>
              </a:pPr>
              <a:t>‹#›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12684074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charset="0"/>
        <a:ea typeface="宋体" charset="-122"/>
        <a:cs typeface="+mn-cs"/>
      </a:defRPr>
    </a:lvl1pPr>
    <a:lvl2pPr marL="342884"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charset="0"/>
        <a:ea typeface="宋体" charset="-122"/>
        <a:cs typeface="+mn-cs"/>
      </a:defRPr>
    </a:lvl2pPr>
    <a:lvl3pPr marL="685766"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charset="0"/>
        <a:ea typeface="宋体" charset="-122"/>
        <a:cs typeface="+mn-cs"/>
      </a:defRPr>
    </a:lvl3pPr>
    <a:lvl4pPr marL="1028649"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charset="0"/>
        <a:ea typeface="宋体" charset="-122"/>
        <a:cs typeface="+mn-cs"/>
      </a:defRPr>
    </a:lvl4pPr>
    <a:lvl5pPr marL="1371532"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charset="0"/>
        <a:ea typeface="宋体" charset="-122"/>
        <a:cs typeface="+mn-cs"/>
      </a:defRPr>
    </a:lvl5pPr>
    <a:lvl6pPr marL="1714415" algn="l" defTabSz="6857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297" algn="l" defTabSz="6857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180" algn="l" defTabSz="6857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064" algn="l" defTabSz="6857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原始数据中的</a:t>
            </a:r>
            <a:r>
              <a:rPr lang="en-US" altLang="zh-CN" dirty="0"/>
              <a:t>sales</a:t>
            </a:r>
            <a:r>
              <a:rPr lang="zh-CN" altLang="en-US" dirty="0"/>
              <a:t>为</a:t>
            </a:r>
            <a:r>
              <a:rPr lang="en-US" altLang="zh-CN" dirty="0"/>
              <a:t>sales value RMB</a:t>
            </a:r>
          </a:p>
          <a:p>
            <a:r>
              <a:rPr lang="zh-CN" altLang="en-US" dirty="0"/>
              <a:t>计算</a:t>
            </a:r>
            <a:r>
              <a:rPr lang="en-US" altLang="zh-CN" dirty="0"/>
              <a:t>market</a:t>
            </a:r>
            <a:r>
              <a:rPr lang="zh-CN" altLang="en-US" dirty="0"/>
              <a:t>的</a:t>
            </a:r>
            <a:r>
              <a:rPr lang="en-US" altLang="zh-CN" dirty="0"/>
              <a:t>value</a:t>
            </a:r>
            <a:r>
              <a:rPr lang="zh-CN" altLang="en-US" dirty="0"/>
              <a:t>趋势</a:t>
            </a:r>
            <a:endParaRPr lang="en-US" altLang="zh-CN" dirty="0"/>
          </a:p>
          <a:p>
            <a:r>
              <a:rPr lang="zh-CN" altLang="en-US" dirty="0"/>
              <a:t>时间固定输出</a:t>
            </a:r>
            <a:r>
              <a:rPr lang="en-US" altLang="zh-CN" dirty="0"/>
              <a:t>5</a:t>
            </a:r>
            <a:r>
              <a:rPr lang="zh-CN" altLang="en-US" dirty="0"/>
              <a:t>年，缺失的历史数据为空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B1E942-0221-46FE-AC80-0A2184A6B6A0}" type="slidenum">
              <a:rPr lang="en-US" altLang="zh-CN" smtClean="0"/>
              <a:pPr>
                <a:defRPr/>
              </a:pPr>
              <a:t>2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3896631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分子输出可配置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B1E942-0221-46FE-AC80-0A2184A6B6A0}" type="slidenum">
              <a:rPr lang="en-US" altLang="zh-CN" smtClean="0"/>
              <a:pPr>
                <a:defRPr/>
              </a:pPr>
              <a:t>11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76847279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分子输出可配置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B1E942-0221-46FE-AC80-0A2184A6B6A0}" type="slidenum">
              <a:rPr lang="en-US" altLang="zh-CN" smtClean="0"/>
              <a:pPr>
                <a:defRPr/>
              </a:pPr>
              <a:t>12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82937868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分子输出可配置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B1E942-0221-46FE-AC80-0A2184A6B6A0}" type="slidenum">
              <a:rPr lang="en-US" altLang="zh-CN" smtClean="0"/>
              <a:pPr>
                <a:defRPr/>
              </a:pPr>
              <a:t>13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78579017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产品输出可配置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B1E942-0221-46FE-AC80-0A2184A6B6A0}" type="slidenum">
              <a:rPr lang="en-US" altLang="zh-CN" smtClean="0"/>
              <a:pPr>
                <a:defRPr/>
              </a:pPr>
              <a:t>14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73825673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MNC/local</a:t>
            </a:r>
            <a:r>
              <a:rPr lang="zh-CN" altLang="en-US" dirty="0"/>
              <a:t>按</a:t>
            </a:r>
            <a:r>
              <a:rPr lang="en-US" altLang="zh-CN" dirty="0"/>
              <a:t>MNF-TYPE</a:t>
            </a:r>
            <a:r>
              <a:rPr lang="zh-CN" altLang="en-US" dirty="0"/>
              <a:t>列计算</a:t>
            </a:r>
            <a:endParaRPr lang="en-US" altLang="zh-CN" dirty="0"/>
          </a:p>
          <a:p>
            <a:r>
              <a:rPr lang="zh-CN" altLang="en-US" dirty="0"/>
              <a:t>产品输出可配置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B1E942-0221-46FE-AC80-0A2184A6B6A0}" type="slidenum">
              <a:rPr lang="en-US" altLang="zh-CN" smtClean="0"/>
              <a:pPr>
                <a:defRPr/>
              </a:pPr>
              <a:t>15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41298246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MNC/local</a:t>
            </a:r>
            <a:r>
              <a:rPr lang="zh-CN" altLang="en-US" dirty="0"/>
              <a:t>按</a:t>
            </a:r>
            <a:r>
              <a:rPr lang="en-US" altLang="zh-CN" dirty="0"/>
              <a:t>MNF-TYPE</a:t>
            </a:r>
            <a:r>
              <a:rPr lang="zh-CN" altLang="en-US" dirty="0"/>
              <a:t>列计算</a:t>
            </a:r>
            <a:endParaRPr lang="en-US" altLang="zh-CN" dirty="0"/>
          </a:p>
          <a:p>
            <a:r>
              <a:rPr lang="zh-CN" altLang="en-US" dirty="0"/>
              <a:t>产品输出可配置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B1E942-0221-46FE-AC80-0A2184A6B6A0}" type="slidenum">
              <a:rPr lang="en-US" altLang="zh-CN" smtClean="0"/>
              <a:pPr>
                <a:defRPr/>
              </a:pPr>
              <a:t>16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02688782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产品输出可配置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B1E942-0221-46FE-AC80-0A2184A6B6A0}" type="slidenum">
              <a:rPr lang="en-US" altLang="zh-CN" smtClean="0"/>
              <a:pPr>
                <a:defRPr/>
              </a:pPr>
              <a:t>17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54084772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产品输出可配置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B1E942-0221-46FE-AC80-0A2184A6B6A0}" type="slidenum">
              <a:rPr lang="en-US" altLang="zh-CN" smtClean="0"/>
              <a:pPr>
                <a:defRPr/>
              </a:pPr>
              <a:t>18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41605141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产品输出可配置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B1E942-0221-46FE-AC80-0A2184A6B6A0}" type="slidenum">
              <a:rPr lang="en-US" altLang="zh-CN" smtClean="0"/>
              <a:pPr>
                <a:defRPr/>
              </a:pPr>
              <a:t>19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02406724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产品输出可配置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B1E942-0221-46FE-AC80-0A2184A6B6A0}" type="slidenum">
              <a:rPr lang="en-US" altLang="zh-CN" smtClean="0"/>
              <a:pPr>
                <a:defRPr/>
              </a:pPr>
              <a:t>20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481646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计算</a:t>
            </a:r>
            <a:r>
              <a:rPr lang="en-US" altLang="zh-CN" dirty="0"/>
              <a:t>market</a:t>
            </a:r>
            <a:r>
              <a:rPr lang="zh-CN" altLang="en-US" dirty="0"/>
              <a:t>的</a:t>
            </a:r>
            <a:r>
              <a:rPr lang="en-US" altLang="zh-CN" dirty="0"/>
              <a:t>units</a:t>
            </a:r>
            <a:r>
              <a:rPr lang="zh-CN" altLang="en-US" dirty="0"/>
              <a:t>趋势</a:t>
            </a:r>
            <a:endParaRPr lang="en-US" altLang="zh-CN" dirty="0"/>
          </a:p>
          <a:p>
            <a:r>
              <a:rPr lang="zh-CN" altLang="en-US" dirty="0"/>
              <a:t>时间固定输出</a:t>
            </a:r>
            <a:r>
              <a:rPr lang="en-US" altLang="zh-CN" dirty="0"/>
              <a:t>5</a:t>
            </a:r>
            <a:r>
              <a:rPr lang="zh-CN" altLang="en-US" dirty="0"/>
              <a:t>年，缺失的历史数据为空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B1E942-0221-46FE-AC80-0A2184A6B6A0}" type="slidenum">
              <a:rPr lang="en-US" altLang="zh-CN" smtClean="0"/>
              <a:pPr>
                <a:defRPr/>
              </a:pPr>
              <a:t>3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25371337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按大区显示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B1E942-0221-46FE-AC80-0A2184A6B6A0}" type="slidenum">
              <a:rPr lang="en-US" altLang="zh-CN" smtClean="0"/>
              <a:pPr>
                <a:defRPr/>
              </a:pPr>
              <a:t>21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8538689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按大区显示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B1E942-0221-46FE-AC80-0A2184A6B6A0}" type="slidenum">
              <a:rPr lang="en-US" altLang="zh-CN" smtClean="0"/>
              <a:pPr>
                <a:defRPr/>
              </a:pPr>
              <a:t>22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88428201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按大区显示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B1E942-0221-46FE-AC80-0A2184A6B6A0}" type="slidenum">
              <a:rPr lang="en-US" altLang="zh-CN" smtClean="0"/>
              <a:pPr>
                <a:defRPr/>
              </a:pPr>
              <a:t>23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79990753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按大区显示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B1E942-0221-46FE-AC80-0A2184A6B6A0}" type="slidenum">
              <a:rPr lang="en-US" altLang="zh-CN" smtClean="0"/>
              <a:pPr>
                <a:defRPr/>
              </a:pPr>
              <a:t>24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7913903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Sub market</a:t>
            </a:r>
          </a:p>
          <a:p>
            <a:r>
              <a:rPr lang="zh-CN" altLang="en-US" dirty="0"/>
              <a:t>计算</a:t>
            </a:r>
            <a:r>
              <a:rPr lang="en-US" altLang="zh-CN" dirty="0"/>
              <a:t>sub market</a:t>
            </a:r>
            <a:r>
              <a:rPr lang="zh-CN" altLang="en-US" dirty="0"/>
              <a:t>的</a:t>
            </a:r>
            <a:r>
              <a:rPr lang="en-US" altLang="zh-CN" dirty="0"/>
              <a:t>value</a:t>
            </a:r>
            <a:r>
              <a:rPr lang="zh-CN" altLang="en-US" dirty="0"/>
              <a:t>趋势</a:t>
            </a:r>
            <a:endParaRPr lang="en-US" altLang="zh-CN" dirty="0"/>
          </a:p>
          <a:p>
            <a:r>
              <a:rPr lang="zh-CN" altLang="en-US" dirty="0"/>
              <a:t>时间固定输出</a:t>
            </a:r>
            <a:r>
              <a:rPr lang="en-US" altLang="zh-CN" dirty="0"/>
              <a:t>5</a:t>
            </a:r>
            <a:r>
              <a:rPr lang="zh-CN" altLang="en-US" dirty="0"/>
              <a:t>年，缺失的历史数据为空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B1E942-0221-46FE-AC80-0A2184A6B6A0}" type="slidenum">
              <a:rPr lang="en-US" altLang="zh-CN" smtClean="0"/>
              <a:pPr>
                <a:defRPr/>
              </a:pPr>
              <a:t>4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9499033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Sub market</a:t>
            </a:r>
          </a:p>
          <a:p>
            <a:r>
              <a:rPr lang="zh-CN" altLang="en-US" dirty="0"/>
              <a:t>计算</a:t>
            </a:r>
            <a:r>
              <a:rPr lang="en-US" altLang="zh-CN" dirty="0"/>
              <a:t>sub market</a:t>
            </a:r>
            <a:r>
              <a:rPr lang="zh-CN" altLang="en-US" dirty="0"/>
              <a:t>的</a:t>
            </a:r>
            <a:r>
              <a:rPr lang="en-US" altLang="zh-CN" dirty="0"/>
              <a:t>units</a:t>
            </a:r>
            <a:r>
              <a:rPr lang="zh-CN" altLang="en-US" dirty="0"/>
              <a:t>趋势</a:t>
            </a:r>
            <a:endParaRPr lang="en-US" altLang="zh-CN" dirty="0"/>
          </a:p>
          <a:p>
            <a:r>
              <a:rPr lang="zh-CN" altLang="en-US" dirty="0"/>
              <a:t>时间固定输出</a:t>
            </a:r>
            <a:r>
              <a:rPr lang="en-US" altLang="zh-CN" dirty="0"/>
              <a:t>5</a:t>
            </a:r>
            <a:r>
              <a:rPr lang="zh-CN" altLang="en-US" dirty="0"/>
              <a:t>年，缺失的历史数据为空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B1E942-0221-46FE-AC80-0A2184A6B6A0}" type="slidenum">
              <a:rPr lang="en-US" altLang="zh-CN" smtClean="0"/>
              <a:pPr>
                <a:defRPr/>
              </a:pPr>
              <a:t>5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4634619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Sub market</a:t>
            </a:r>
          </a:p>
          <a:p>
            <a:r>
              <a:rPr lang="zh-CN" altLang="en-US" dirty="0"/>
              <a:t>计算</a:t>
            </a:r>
            <a:r>
              <a:rPr lang="en-US" altLang="zh-CN" dirty="0"/>
              <a:t>sub market</a:t>
            </a:r>
            <a:r>
              <a:rPr lang="zh-CN" altLang="en-US" dirty="0"/>
              <a:t>的</a:t>
            </a:r>
            <a:r>
              <a:rPr lang="en-US" altLang="zh-CN" dirty="0"/>
              <a:t>value</a:t>
            </a:r>
            <a:r>
              <a:rPr lang="zh-CN" altLang="en-US" dirty="0"/>
              <a:t>趋势</a:t>
            </a:r>
            <a:endParaRPr lang="en-US" altLang="zh-CN" dirty="0"/>
          </a:p>
          <a:p>
            <a:r>
              <a:rPr lang="zh-CN" altLang="en-US" dirty="0"/>
              <a:t>时间固定输出</a:t>
            </a:r>
            <a:r>
              <a:rPr lang="en-US" altLang="zh-CN" dirty="0"/>
              <a:t>5</a:t>
            </a:r>
            <a:r>
              <a:rPr lang="zh-CN" altLang="en-US" dirty="0"/>
              <a:t>年，缺失的历史数据为空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B1E942-0221-46FE-AC80-0A2184A6B6A0}" type="slidenum">
              <a:rPr lang="en-US" altLang="zh-CN" smtClean="0"/>
              <a:pPr>
                <a:defRPr/>
              </a:pPr>
              <a:t>6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637392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Sub market</a:t>
            </a:r>
          </a:p>
          <a:p>
            <a:r>
              <a:rPr lang="zh-CN" altLang="en-US" dirty="0"/>
              <a:t>计算</a:t>
            </a:r>
            <a:r>
              <a:rPr lang="en-US" altLang="zh-CN" dirty="0"/>
              <a:t>sub market</a:t>
            </a:r>
            <a:r>
              <a:rPr lang="zh-CN" altLang="en-US" dirty="0"/>
              <a:t>的</a:t>
            </a:r>
            <a:r>
              <a:rPr lang="en-US" altLang="zh-CN" dirty="0"/>
              <a:t>units</a:t>
            </a:r>
            <a:r>
              <a:rPr lang="zh-CN" altLang="en-US" dirty="0"/>
              <a:t>趋势</a:t>
            </a:r>
            <a:endParaRPr lang="en-US" altLang="zh-CN" dirty="0"/>
          </a:p>
          <a:p>
            <a:r>
              <a:rPr lang="zh-CN" altLang="en-US" dirty="0"/>
              <a:t>时间固定输出</a:t>
            </a:r>
            <a:r>
              <a:rPr lang="en-US" altLang="zh-CN" dirty="0"/>
              <a:t>5</a:t>
            </a:r>
            <a:r>
              <a:rPr lang="zh-CN" altLang="en-US" dirty="0"/>
              <a:t>年，缺失的历史数据为空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B1E942-0221-46FE-AC80-0A2184A6B6A0}" type="slidenum">
              <a:rPr lang="en-US" altLang="zh-CN" smtClean="0"/>
              <a:pPr>
                <a:defRPr/>
              </a:pPr>
              <a:t>7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40217845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分子输出可配置</a:t>
            </a: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B1E942-0221-46FE-AC80-0A2184A6B6A0}" type="slidenum">
              <a:rPr lang="en-US" altLang="zh-CN" smtClean="0"/>
              <a:pPr>
                <a:defRPr/>
              </a:pPr>
              <a:t>8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8918307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分子输出可配置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B1E942-0221-46FE-AC80-0A2184A6B6A0}" type="slidenum">
              <a:rPr lang="en-US" altLang="zh-CN" smtClean="0"/>
              <a:pPr>
                <a:defRPr/>
              </a:pPr>
              <a:t>9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5720890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分子输出可配置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B1E942-0221-46FE-AC80-0A2184A6B6A0}" type="slidenum">
              <a:rPr lang="en-US" altLang="zh-CN" smtClean="0"/>
              <a:pPr>
                <a:defRPr/>
              </a:pPr>
              <a:t>10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6020406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8389461"/>
              </p:ext>
            </p:extLst>
          </p:nvPr>
        </p:nvGraphicFramePr>
        <p:xfrm>
          <a:off x="1591" y="1206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173" name="think-cell 幻灯片" r:id="rId4" imgW="420" imgH="420" progId="TCLayout.ActiveDocument.1">
                  <p:embed/>
                </p:oleObj>
              </mc:Choice>
              <mc:Fallback>
                <p:oleObj name="think-cell 幻灯片" r:id="rId4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206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id-3227320_1920.jpg" descr="grid-3227320_1920.jpg"/>
          <p:cNvPicPr>
            <a:picLocks noChangeAspect="1"/>
          </p:cNvPicPr>
          <p:nvPr userDrawn="1"/>
        </p:nvPicPr>
        <p:blipFill rotWithShape="1">
          <a:blip r:embed="rId6"/>
          <a:srcRect l="12430" r="12406"/>
          <a:stretch/>
        </p:blipFill>
        <p:spPr>
          <a:xfrm>
            <a:off x="-8568" y="-1"/>
            <a:ext cx="9164003" cy="5143501"/>
          </a:xfrm>
          <a:prstGeom prst="rect">
            <a:avLst/>
          </a:prstGeom>
          <a:ln w="12700">
            <a:miter lim="400000"/>
            <a:headEnd/>
            <a:tailEnd/>
          </a:ln>
        </p:spPr>
      </p:pic>
      <p:sp>
        <p:nvSpPr>
          <p:cNvPr id="7" name="矩形"/>
          <p:cNvSpPr/>
          <p:nvPr userDrawn="1"/>
        </p:nvSpPr>
        <p:spPr>
          <a:xfrm>
            <a:off x="-8572" y="16"/>
            <a:ext cx="9152931" cy="5143501"/>
          </a:xfrm>
          <a:prstGeom prst="rect">
            <a:avLst/>
          </a:prstGeom>
          <a:gradFill>
            <a:gsLst>
              <a:gs pos="1000">
                <a:srgbClr val="0C2B3E">
                  <a:alpha val="79622"/>
                </a:srgbClr>
              </a:gs>
              <a:gs pos="100000">
                <a:srgbClr val="020408">
                  <a:alpha val="79622"/>
                </a:srgbClr>
              </a:gs>
            </a:gsLst>
            <a:lin ang="5400000"/>
          </a:gradFill>
          <a:ln w="12700">
            <a:miter lim="400000"/>
          </a:ln>
        </p:spPr>
        <p:txBody>
          <a:bodyPr lIns="0" tIns="0" rIns="0" bIns="0" anchor="ctr"/>
          <a:lstStyle/>
          <a:p>
            <a:pPr defTabSz="435252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500">
              <a:solidFill>
                <a:schemeClr val="bg1"/>
              </a:solidFill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762000" y="1257880"/>
            <a:ext cx="4572000" cy="1102519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219200" y="2914650"/>
            <a:ext cx="35814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3165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330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495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660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825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991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2156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5321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此处编辑母版副标题样式</a:t>
            </a:r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8734447"/>
              </p:ext>
            </p:extLst>
          </p:nvPr>
        </p:nvGraphicFramePr>
        <p:xfrm>
          <a:off x="1591" y="1206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7271" name="think-cell 幻灯片" r:id="rId4" imgW="420" imgH="420" progId="TCLayout.ActiveDocument.1">
                  <p:embed/>
                </p:oleObj>
              </mc:Choice>
              <mc:Fallback>
                <p:oleObj name="think-cell 幻灯片" r:id="rId4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206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8458200" y="4914900"/>
            <a:ext cx="381000" cy="11430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750" b="0" i="0" u="none" baseline="0">
                <a:solidFill>
                  <a:schemeClr val="bg1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 dirty="0">
              <a:ea typeface="+mn-ea"/>
            </a:endParaRPr>
          </a:p>
        </p:txBody>
      </p:sp>
      <p:grpSp>
        <p:nvGrpSpPr>
          <p:cNvPr id="5" name="组合 4"/>
          <p:cNvGrpSpPr/>
          <p:nvPr userDrawn="1"/>
        </p:nvGrpSpPr>
        <p:grpSpPr>
          <a:xfrm>
            <a:off x="0" y="647282"/>
            <a:ext cx="9144000" cy="1185637"/>
            <a:chOff x="0" y="459405"/>
            <a:chExt cx="9144000" cy="1580850"/>
          </a:xfrm>
        </p:grpSpPr>
        <p:pic>
          <p:nvPicPr>
            <p:cNvPr id="6" name="图片 5"/>
            <p:cNvPicPr>
              <a:picLocks noChangeAspect="1"/>
            </p:cNvPicPr>
            <p:nvPr userDrawn="1"/>
          </p:nvPicPr>
          <p:blipFill rotWithShape="1">
            <a:blip r:embed="rId6"/>
            <a:srcRect t="26047" b="37438"/>
            <a:stretch/>
          </p:blipFill>
          <p:spPr>
            <a:xfrm>
              <a:off x="0" y="482207"/>
              <a:ext cx="9144000" cy="1558048"/>
            </a:xfrm>
            <a:prstGeom prst="rect">
              <a:avLst/>
            </a:prstGeom>
          </p:spPr>
        </p:pic>
        <p:sp>
          <p:nvSpPr>
            <p:cNvPr id="7" name="流程图: 手动输入 6"/>
            <p:cNvSpPr/>
            <p:nvPr userDrawn="1"/>
          </p:nvSpPr>
          <p:spPr>
            <a:xfrm rot="16200000">
              <a:off x="6503345" y="-600400"/>
              <a:ext cx="1580849" cy="3700460"/>
            </a:xfrm>
            <a:prstGeom prst="flowChartManualInput">
              <a:avLst/>
            </a:prstGeom>
            <a:solidFill>
              <a:srgbClr val="E7EAED">
                <a:alpha val="8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defTabSz="642819">
                <a:defRPr/>
              </a:pPr>
              <a:endParaRPr lang="zh-CN" altLang="en-US" sz="1186">
                <a:solidFill>
                  <a:prstClr val="white"/>
                </a:solidFill>
              </a:endParaRPr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对象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8391998"/>
              </p:ext>
            </p:extLst>
          </p:nvPr>
        </p:nvGraphicFramePr>
        <p:xfrm>
          <a:off x="1591" y="1206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246" name="think-cell 幻灯片" r:id="rId4" imgW="420" imgH="420" progId="TCLayout.ActiveDocument.1">
                  <p:embed/>
                </p:oleObj>
              </mc:Choice>
              <mc:Fallback>
                <p:oleObj name="think-cell 幻灯片" r:id="rId4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206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47700" y="114309"/>
            <a:ext cx="8001000" cy="594121"/>
          </a:xfrm>
        </p:spPr>
        <p:txBody>
          <a:bodyPr anchor="b">
            <a:normAutofit/>
          </a:bodyPr>
          <a:lstStyle>
            <a:lvl1pPr algn="l">
              <a:defRPr sz="2400"/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7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8458200" y="4914900"/>
            <a:ext cx="381000" cy="11430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750" b="0" i="0" u="none" baseline="0">
                <a:solidFill>
                  <a:schemeClr val="bg1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 dirty="0">
              <a:ea typeface="+mn-ea"/>
            </a:endParaRPr>
          </a:p>
        </p:txBody>
      </p:sp>
      <p:pic>
        <p:nvPicPr>
          <p:cNvPr id="11" name="Picture 6" descr="pasted-image.pdf">
            <a:extLst>
              <a:ext uri="{FF2B5EF4-FFF2-40B4-BE49-F238E27FC236}">
                <a16:creationId xmlns:a16="http://schemas.microsoft.com/office/drawing/2014/main" id="{C51423D5-F35D-42DB-A76B-9D65E1186E4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8248" y="380847"/>
            <a:ext cx="295211" cy="282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标题 - 顶部对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2646784"/>
              </p:ext>
            </p:extLst>
          </p:nvPr>
        </p:nvGraphicFramePr>
        <p:xfrm>
          <a:off x="1125" y="838"/>
          <a:ext cx="1117" cy="8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7651" name="think-cell 幻灯片" r:id="rId4" imgW="270" imgH="270" progId="TCLayout.ActiveDocument.1">
                  <p:embed/>
                </p:oleObj>
              </mc:Choice>
              <mc:Fallback>
                <p:oleObj name="think-cell 幻灯片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25" y="838"/>
                        <a:ext cx="1117" cy="8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标题文本"/>
          <p:cNvSpPr txBox="1">
            <a:spLocks noGrp="1"/>
          </p:cNvSpPr>
          <p:nvPr>
            <p:ph type="title" hasCustomPrompt="1"/>
          </p:nvPr>
        </p:nvSpPr>
        <p:spPr>
          <a:xfrm>
            <a:off x="707231" y="133945"/>
            <a:ext cx="7767042" cy="583332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109"/>
            </a:lvl1pPr>
          </a:lstStyle>
          <a:p>
            <a:r>
              <a:rPr dirty="0" err="1"/>
              <a:t>标题文本</a:t>
            </a:r>
            <a:endParaRPr dirty="0"/>
          </a:p>
        </p:txBody>
      </p:sp>
      <p:sp>
        <p:nvSpPr>
          <p:cNvPr id="49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#›</a:t>
            </a:fld>
            <a:endParaRPr/>
          </a:p>
        </p:txBody>
      </p:sp>
      <p:sp>
        <p:nvSpPr>
          <p:cNvPr id="15" name="矩形"/>
          <p:cNvSpPr/>
          <p:nvPr userDrawn="1"/>
        </p:nvSpPr>
        <p:spPr>
          <a:xfrm>
            <a:off x="0" y="-17545"/>
            <a:ext cx="9144000" cy="5182099"/>
          </a:xfrm>
          <a:prstGeom prst="rect">
            <a:avLst/>
          </a:prstGeom>
          <a:solidFill>
            <a:srgbClr val="1C1F25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35285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88"/>
          </a:p>
        </p:txBody>
      </p:sp>
      <p:pic>
        <p:nvPicPr>
          <p:cNvPr id="16" name="patrick-tomasso-5eZu5p0vSPg-unsplash.jpg" descr="patrick-tomasso-5eZu5p0vSPg-unsplash.jpg"/>
          <p:cNvPicPr>
            <a:picLocks noChangeAspect="1"/>
          </p:cNvPicPr>
          <p:nvPr userDrawn="1"/>
        </p:nvPicPr>
        <p:blipFill rotWithShape="1">
          <a:blip r:embed="rId6">
            <a:alphaModFix amt="30026"/>
          </a:blip>
          <a:srcRect l="11971" t="9004" r="15214" b="22474"/>
          <a:stretch/>
        </p:blipFill>
        <p:spPr>
          <a:xfrm>
            <a:off x="-11279" y="6"/>
            <a:ext cx="9147760" cy="5168879"/>
          </a:xfrm>
          <a:prstGeom prst="rect">
            <a:avLst/>
          </a:prstGeom>
          <a:ln w="12700">
            <a:miter lim="400000"/>
            <a:headEnd/>
            <a:tailEnd/>
          </a:ln>
        </p:spPr>
      </p:pic>
      <p:pic>
        <p:nvPicPr>
          <p:cNvPr id="17" name="logo用法_画板 1 副本 6.png" descr="logo用法_画板 1 副本 6.png"/>
          <p:cNvPicPr>
            <a:picLocks noChangeAspect="1"/>
          </p:cNvPicPr>
          <p:nvPr userDrawn="1"/>
        </p:nvPicPr>
        <p:blipFill>
          <a:blip r:embed="rId7"/>
          <a:srcRect l="14176" r="14176"/>
          <a:stretch>
            <a:fillRect/>
          </a:stretch>
        </p:blipFill>
        <p:spPr>
          <a:xfrm>
            <a:off x="3904760" y="1573097"/>
            <a:ext cx="1688607" cy="1739014"/>
          </a:xfrm>
          <a:prstGeom prst="rect">
            <a:avLst/>
          </a:prstGeom>
          <a:ln w="12700">
            <a:miter lim="400000"/>
            <a:headEnd/>
            <a:tailEnd/>
          </a:ln>
        </p:spPr>
      </p:pic>
      <p:sp>
        <p:nvSpPr>
          <p:cNvPr id="18" name="Above Data"/>
          <p:cNvSpPr txBox="1"/>
          <p:nvPr userDrawn="1"/>
        </p:nvSpPr>
        <p:spPr>
          <a:xfrm>
            <a:off x="3634064" y="3194541"/>
            <a:ext cx="2108199" cy="339754"/>
          </a:xfrm>
          <a:prstGeom prst="rect">
            <a:avLst/>
          </a:prstGeom>
          <a:ln w="12700">
            <a:miter lim="400000"/>
          </a:ln>
        </p:spPr>
        <p:txBody>
          <a:bodyPr lIns="26789" tIns="26789" rIns="26789" bIns="26789" anchor="ctr"/>
          <a:lstStyle>
            <a:lvl1pPr defTabSz="825500">
              <a:defRPr sz="2000">
                <a:solidFill>
                  <a:srgbClr val="D6D5D5"/>
                </a:solidFill>
              </a:defRPr>
            </a:lvl1pPr>
          </a:lstStyle>
          <a:p>
            <a:pPr algn="ctr"/>
            <a:r>
              <a:rPr sz="1055"/>
              <a:t>Above Data</a:t>
            </a:r>
          </a:p>
        </p:txBody>
      </p:sp>
    </p:spTree>
    <p:extLst>
      <p:ext uri="{BB962C8B-B14F-4D97-AF65-F5344CB8AC3E}">
        <p14:creationId xmlns:p14="http://schemas.microsoft.com/office/powerpoint/2010/main" val="2453600470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3.png"/><Relationship Id="rId5" Type="http://schemas.openxmlformats.org/officeDocument/2006/relationships/theme" Target="../theme/theme1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069151237"/>
              </p:ext>
            </p:extLst>
          </p:nvPr>
        </p:nvGraphicFramePr>
        <p:xfrm>
          <a:off x="1201" y="1207"/>
          <a:ext cx="119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189" name="think-cell 幻灯片" r:id="rId8" imgW="420" imgH="420" progId="TCLayout.ActiveDocument.1">
                  <p:embed/>
                </p:oleObj>
              </mc:Choice>
              <mc:Fallback>
                <p:oleObj name="think-cell 幻灯片" r:id="rId8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201" y="1207"/>
                        <a:ext cx="1191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id-3227320_1920.jpg" descr="grid-3227320_1920.jpg"/>
          <p:cNvPicPr>
            <a:picLocks noChangeAspect="1"/>
          </p:cNvPicPr>
          <p:nvPr userDrawn="1"/>
        </p:nvPicPr>
        <p:blipFill rotWithShape="1">
          <a:blip r:embed="rId10"/>
          <a:srcRect l="12430" t="92812" r="12406"/>
          <a:stretch/>
        </p:blipFill>
        <p:spPr>
          <a:xfrm>
            <a:off x="-8571" y="4773821"/>
            <a:ext cx="9152573" cy="369689"/>
          </a:xfrm>
          <a:prstGeom prst="rect">
            <a:avLst/>
          </a:prstGeom>
          <a:ln w="12700">
            <a:miter lim="400000"/>
            <a:headEnd/>
            <a:tailEnd/>
          </a:ln>
        </p:spPr>
      </p:pic>
      <p:sp>
        <p:nvSpPr>
          <p:cNvPr id="11" name="矩形"/>
          <p:cNvSpPr/>
          <p:nvPr userDrawn="1"/>
        </p:nvSpPr>
        <p:spPr>
          <a:xfrm>
            <a:off x="-8930" y="4775158"/>
            <a:ext cx="9152930" cy="368351"/>
          </a:xfrm>
          <a:prstGeom prst="rect">
            <a:avLst/>
          </a:prstGeom>
          <a:gradFill>
            <a:gsLst>
              <a:gs pos="0">
                <a:srgbClr val="0C2B3E">
                  <a:alpha val="79622"/>
                </a:srgbClr>
              </a:gs>
              <a:gs pos="100000">
                <a:srgbClr val="020408">
                  <a:alpha val="79622"/>
                </a:srgbClr>
              </a:gs>
            </a:gsLst>
            <a:lin ang="5400000"/>
          </a:gradFill>
          <a:ln w="12700">
            <a:miter lim="400000"/>
          </a:ln>
        </p:spPr>
        <p:txBody>
          <a:bodyPr lIns="0" tIns="0" rIns="0" bIns="0" anchor="ctr"/>
          <a:lstStyle/>
          <a:p>
            <a:pPr defTabSz="435285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88"/>
          </a:p>
        </p:txBody>
      </p:sp>
      <p:pic>
        <p:nvPicPr>
          <p:cNvPr id="12" name="logo用法_画板 1 副本 8.png" descr="logo用法_画板 1 副本 8.png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381000" y="4780406"/>
            <a:ext cx="924880" cy="363096"/>
          </a:xfrm>
          <a:prstGeom prst="rect">
            <a:avLst/>
          </a:prstGeom>
          <a:ln w="12700">
            <a:miter lim="4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200155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  <a:endParaRPr lang="en-US" dirty="0"/>
          </a:p>
        </p:txBody>
      </p:sp>
      <p:sp>
        <p:nvSpPr>
          <p:cNvPr id="14" name="Slide Number Placeholder 16"/>
          <p:cNvSpPr>
            <a:spLocks noGrp="1"/>
          </p:cNvSpPr>
          <p:nvPr>
            <p:ph type="sldNum" sz="quarter" idx="4"/>
          </p:nvPr>
        </p:nvSpPr>
        <p:spPr bwMode="auto">
          <a:xfrm>
            <a:off x="8458200" y="4914900"/>
            <a:ext cx="381000" cy="11430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chemeClr val="bg1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 dirty="0">
              <a:ea typeface="+mn-ea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4" r:id="rId2"/>
    <p:sldLayoutId id="2147483703" r:id="rId3"/>
    <p:sldLayoutId id="2147484137" r:id="rId4"/>
  </p:sldLayoutIdLst>
  <p:hf hdr="0"/>
  <p:txStyles>
    <p:titleStyle>
      <a:lvl1pPr algn="ctr" defTabSz="633038" rtl="0" eaLnBrk="1" latinLnBrk="0" hangingPunct="1">
        <a:spcBef>
          <a:spcPct val="0"/>
        </a:spcBef>
        <a:buNone/>
        <a:defRPr sz="304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7388" indent="-237388" algn="l" defTabSz="633038" rtl="0" eaLnBrk="1" latinLnBrk="0" hangingPunct="1">
        <a:spcBef>
          <a:spcPct val="20000"/>
        </a:spcBef>
        <a:buFont typeface="Arial" pitchFamily="34" charset="0"/>
        <a:buChar char="•"/>
        <a:defRPr sz="2216" kern="1200">
          <a:solidFill>
            <a:schemeClr val="tx1"/>
          </a:solidFill>
          <a:latin typeface="+mn-lt"/>
          <a:ea typeface="+mn-ea"/>
          <a:cs typeface="+mn-cs"/>
        </a:defRPr>
      </a:lvl1pPr>
      <a:lvl2pPr marL="514346" indent="-197824" algn="l" defTabSz="633038" rtl="0" eaLnBrk="1" latinLnBrk="0" hangingPunct="1">
        <a:spcBef>
          <a:spcPct val="20000"/>
        </a:spcBef>
        <a:buFont typeface="Arial" pitchFamily="34" charset="0"/>
        <a:buChar char="–"/>
        <a:defRPr sz="1939" kern="1200">
          <a:solidFill>
            <a:schemeClr val="tx1"/>
          </a:solidFill>
          <a:latin typeface="+mn-lt"/>
          <a:ea typeface="+mn-ea"/>
          <a:cs typeface="+mn-cs"/>
        </a:defRPr>
      </a:lvl2pPr>
      <a:lvl3pPr marL="791295" indent="-158259" algn="l" defTabSz="633038" rtl="0" eaLnBrk="1" latinLnBrk="0" hangingPunct="1">
        <a:spcBef>
          <a:spcPct val="20000"/>
        </a:spcBef>
        <a:buFont typeface="Arial" pitchFamily="34" charset="0"/>
        <a:buChar char="•"/>
        <a:defRPr sz="1663" kern="1200">
          <a:solidFill>
            <a:schemeClr val="tx1"/>
          </a:solidFill>
          <a:latin typeface="+mn-lt"/>
          <a:ea typeface="+mn-ea"/>
          <a:cs typeface="+mn-cs"/>
        </a:defRPr>
      </a:lvl3pPr>
      <a:lvl4pPr marL="1107812" indent="-158259" algn="l" defTabSz="633038" rtl="0" eaLnBrk="1" latinLnBrk="0" hangingPunct="1">
        <a:spcBef>
          <a:spcPct val="20000"/>
        </a:spcBef>
        <a:buFont typeface="Arial" pitchFamily="34" charset="0"/>
        <a:buChar char="–"/>
        <a:defRPr sz="1385" kern="1200">
          <a:solidFill>
            <a:schemeClr val="tx1"/>
          </a:solidFill>
          <a:latin typeface="+mn-lt"/>
          <a:ea typeface="+mn-ea"/>
          <a:cs typeface="+mn-cs"/>
        </a:defRPr>
      </a:lvl4pPr>
      <a:lvl5pPr marL="1424333" indent="-158259" algn="l" defTabSz="633038" rtl="0" eaLnBrk="1" latinLnBrk="0" hangingPunct="1">
        <a:spcBef>
          <a:spcPct val="20000"/>
        </a:spcBef>
        <a:buFont typeface="Arial" pitchFamily="34" charset="0"/>
        <a:buChar char="»"/>
        <a:defRPr sz="1385" kern="1200">
          <a:solidFill>
            <a:schemeClr val="tx1"/>
          </a:solidFill>
          <a:latin typeface="+mn-lt"/>
          <a:ea typeface="+mn-ea"/>
          <a:cs typeface="+mn-cs"/>
        </a:defRPr>
      </a:lvl5pPr>
      <a:lvl6pPr marL="1740848" indent="-158259" algn="l" defTabSz="633038" rtl="0" eaLnBrk="1" latinLnBrk="0" hangingPunct="1">
        <a:spcBef>
          <a:spcPct val="20000"/>
        </a:spcBef>
        <a:buFont typeface="Arial" pitchFamily="34" charset="0"/>
        <a:buChar char="•"/>
        <a:defRPr sz="1385" kern="1200">
          <a:solidFill>
            <a:schemeClr val="tx1"/>
          </a:solidFill>
          <a:latin typeface="+mn-lt"/>
          <a:ea typeface="+mn-ea"/>
          <a:cs typeface="+mn-cs"/>
        </a:defRPr>
      </a:lvl6pPr>
      <a:lvl7pPr marL="2057368" indent="-158259" algn="l" defTabSz="633038" rtl="0" eaLnBrk="1" latinLnBrk="0" hangingPunct="1">
        <a:spcBef>
          <a:spcPct val="20000"/>
        </a:spcBef>
        <a:buFont typeface="Arial" pitchFamily="34" charset="0"/>
        <a:buChar char="•"/>
        <a:defRPr sz="1385" kern="1200">
          <a:solidFill>
            <a:schemeClr val="tx1"/>
          </a:solidFill>
          <a:latin typeface="+mn-lt"/>
          <a:ea typeface="+mn-ea"/>
          <a:cs typeface="+mn-cs"/>
        </a:defRPr>
      </a:lvl7pPr>
      <a:lvl8pPr marL="2373885" indent="-158259" algn="l" defTabSz="633038" rtl="0" eaLnBrk="1" latinLnBrk="0" hangingPunct="1">
        <a:spcBef>
          <a:spcPct val="20000"/>
        </a:spcBef>
        <a:buFont typeface="Arial" pitchFamily="34" charset="0"/>
        <a:buChar char="•"/>
        <a:defRPr sz="1385" kern="1200">
          <a:solidFill>
            <a:schemeClr val="tx1"/>
          </a:solidFill>
          <a:latin typeface="+mn-lt"/>
          <a:ea typeface="+mn-ea"/>
          <a:cs typeface="+mn-cs"/>
        </a:defRPr>
      </a:lvl8pPr>
      <a:lvl9pPr marL="2690402" indent="-158259" algn="l" defTabSz="633038" rtl="0" eaLnBrk="1" latinLnBrk="0" hangingPunct="1">
        <a:spcBef>
          <a:spcPct val="20000"/>
        </a:spcBef>
        <a:buFont typeface="Arial" pitchFamily="34" charset="0"/>
        <a:buChar char="•"/>
        <a:defRPr sz="138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33038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1pPr>
      <a:lvl2pPr marL="316519" algn="l" defTabSz="633038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2pPr>
      <a:lvl3pPr marL="633038" algn="l" defTabSz="633038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3pPr>
      <a:lvl4pPr marL="949554" algn="l" defTabSz="633038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4pPr>
      <a:lvl5pPr marL="1266072" algn="l" defTabSz="633038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5pPr>
      <a:lvl6pPr marL="1582591" algn="l" defTabSz="633038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6pPr>
      <a:lvl7pPr marL="1899107" algn="l" defTabSz="633038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7pPr>
      <a:lvl8pPr marL="2215625" algn="l" defTabSz="633038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8pPr>
      <a:lvl9pPr marL="2532144" algn="l" defTabSz="633038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.xml"/><Relationship Id="rId3" Type="http://schemas.openxmlformats.org/officeDocument/2006/relationships/tags" Target="../tags/tag26.xml"/><Relationship Id="rId7" Type="http://schemas.openxmlformats.org/officeDocument/2006/relationships/image" Target="../media/image6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0.xml"/><Relationship Id="rId3" Type="http://schemas.openxmlformats.org/officeDocument/2006/relationships/tags" Target="../tags/tag28.xml"/><Relationship Id="rId7" Type="http://schemas.openxmlformats.org/officeDocument/2006/relationships/image" Target="../media/image6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1.xml"/><Relationship Id="rId3" Type="http://schemas.openxmlformats.org/officeDocument/2006/relationships/tags" Target="../tags/tag30.xml"/><Relationship Id="rId7" Type="http://schemas.openxmlformats.org/officeDocument/2006/relationships/image" Target="../media/image6.emf"/><Relationship Id="rId2" Type="http://schemas.openxmlformats.org/officeDocument/2006/relationships/tags" Target="../tags/tag29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2.xml"/><Relationship Id="rId3" Type="http://schemas.openxmlformats.org/officeDocument/2006/relationships/tags" Target="../tags/tag32.xml"/><Relationship Id="rId7" Type="http://schemas.openxmlformats.org/officeDocument/2006/relationships/image" Target="../media/image6.emf"/><Relationship Id="rId2" Type="http://schemas.openxmlformats.org/officeDocument/2006/relationships/tags" Target="../tags/tag31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18.xlsx"/><Relationship Id="rId3" Type="http://schemas.openxmlformats.org/officeDocument/2006/relationships/tags" Target="../tags/tag34.xml"/><Relationship Id="rId7" Type="http://schemas.openxmlformats.org/officeDocument/2006/relationships/image" Target="../media/image6.emf"/><Relationship Id="rId2" Type="http://schemas.openxmlformats.org/officeDocument/2006/relationships/tags" Target="../tags/tag33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5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19.xlsx"/><Relationship Id="rId3" Type="http://schemas.openxmlformats.org/officeDocument/2006/relationships/tags" Target="../tags/tag36.xml"/><Relationship Id="rId7" Type="http://schemas.openxmlformats.org/officeDocument/2006/relationships/image" Target="../media/image6.emf"/><Relationship Id="rId2" Type="http://schemas.openxmlformats.org/officeDocument/2006/relationships/tags" Target="../tags/tag35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6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20.xlsx"/><Relationship Id="rId3" Type="http://schemas.openxmlformats.org/officeDocument/2006/relationships/tags" Target="../tags/tag38.xml"/><Relationship Id="rId7" Type="http://schemas.openxmlformats.org/officeDocument/2006/relationships/image" Target="../media/image6.emf"/><Relationship Id="rId2" Type="http://schemas.openxmlformats.org/officeDocument/2006/relationships/tags" Target="../tags/tag37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7.emf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3.xml"/><Relationship Id="rId3" Type="http://schemas.openxmlformats.org/officeDocument/2006/relationships/tags" Target="../tags/tag40.xml"/><Relationship Id="rId7" Type="http://schemas.openxmlformats.org/officeDocument/2006/relationships/image" Target="../media/image6.emf"/><Relationship Id="rId2" Type="http://schemas.openxmlformats.org/officeDocument/2006/relationships/tags" Target="../tags/tag39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4.xml"/><Relationship Id="rId3" Type="http://schemas.openxmlformats.org/officeDocument/2006/relationships/tags" Target="../tags/tag42.xml"/><Relationship Id="rId7" Type="http://schemas.openxmlformats.org/officeDocument/2006/relationships/image" Target="../media/image6.emf"/><Relationship Id="rId2" Type="http://schemas.openxmlformats.org/officeDocument/2006/relationships/tags" Target="../tags/tag41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5.xml"/><Relationship Id="rId3" Type="http://schemas.openxmlformats.org/officeDocument/2006/relationships/tags" Target="../tags/tag44.xml"/><Relationship Id="rId7" Type="http://schemas.openxmlformats.org/officeDocument/2006/relationships/image" Target="../media/image6.emf"/><Relationship Id="rId2" Type="http://schemas.openxmlformats.org/officeDocument/2006/relationships/tags" Target="../tags/tag43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10.xml"/><Relationship Id="rId7" Type="http://schemas.openxmlformats.org/officeDocument/2006/relationships/image" Target="../media/image9.emf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3.xml"/><Relationship Id="rId9" Type="http://schemas.openxmlformats.org/officeDocument/2006/relationships/chart" Target="../charts/char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6.xml"/><Relationship Id="rId3" Type="http://schemas.openxmlformats.org/officeDocument/2006/relationships/tags" Target="../tags/tag46.xml"/><Relationship Id="rId7" Type="http://schemas.openxmlformats.org/officeDocument/2006/relationships/image" Target="../media/image6.emf"/><Relationship Id="rId2" Type="http://schemas.openxmlformats.org/officeDocument/2006/relationships/tags" Target="../tags/tag45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25.xlsx"/><Relationship Id="rId3" Type="http://schemas.openxmlformats.org/officeDocument/2006/relationships/tags" Target="../tags/tag48.xml"/><Relationship Id="rId7" Type="http://schemas.openxmlformats.org/officeDocument/2006/relationships/image" Target="../media/image6.emf"/><Relationship Id="rId2" Type="http://schemas.openxmlformats.org/officeDocument/2006/relationships/tags" Target="../tags/tag47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6.bin"/><Relationship Id="rId5" Type="http://schemas.openxmlformats.org/officeDocument/2006/relationships/notesSlide" Target="../notesSlides/notesSlide20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8.emf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26.xlsx"/><Relationship Id="rId3" Type="http://schemas.openxmlformats.org/officeDocument/2006/relationships/tags" Target="../tags/tag50.xml"/><Relationship Id="rId7" Type="http://schemas.openxmlformats.org/officeDocument/2006/relationships/image" Target="../media/image6.emf"/><Relationship Id="rId2" Type="http://schemas.openxmlformats.org/officeDocument/2006/relationships/tags" Target="../tags/tag49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27.bin"/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9.emf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7.xml"/><Relationship Id="rId3" Type="http://schemas.openxmlformats.org/officeDocument/2006/relationships/tags" Target="../tags/tag52.xml"/><Relationship Id="rId7" Type="http://schemas.openxmlformats.org/officeDocument/2006/relationships/image" Target="../media/image6.emf"/><Relationship Id="rId2" Type="http://schemas.openxmlformats.org/officeDocument/2006/relationships/tags" Target="../tags/tag51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8.bin"/><Relationship Id="rId5" Type="http://schemas.openxmlformats.org/officeDocument/2006/relationships/notesSlide" Target="../notesSlides/notesSlide22.xml"/><Relationship Id="rId4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8.xml"/><Relationship Id="rId3" Type="http://schemas.openxmlformats.org/officeDocument/2006/relationships/tags" Target="../tags/tag54.xml"/><Relationship Id="rId7" Type="http://schemas.openxmlformats.org/officeDocument/2006/relationships/image" Target="../media/image6.emf"/><Relationship Id="rId2" Type="http://schemas.openxmlformats.org/officeDocument/2006/relationships/tags" Target="../tags/tag53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9.bin"/><Relationship Id="rId5" Type="http://schemas.openxmlformats.org/officeDocument/2006/relationships/notesSlide" Target="../notesSlides/notesSlide23.xml"/><Relationship Id="rId4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tags" Target="../tags/tag56.xml"/><Relationship Id="rId7" Type="http://schemas.openxmlformats.org/officeDocument/2006/relationships/package" Target="../embeddings/Microsoft_Excel_Worksheet25.xlsx"/><Relationship Id="rId2" Type="http://schemas.openxmlformats.org/officeDocument/2006/relationships/tags" Target="../tags/tag55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0.bin"/><Relationship Id="rId4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tags" Target="../tags/tag58.xml"/><Relationship Id="rId7" Type="http://schemas.openxmlformats.org/officeDocument/2006/relationships/package" Target="../embeddings/Microsoft_Excel_Worksheet26.xlsx"/><Relationship Id="rId2" Type="http://schemas.openxmlformats.org/officeDocument/2006/relationships/tags" Target="../tags/tag57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1.bin"/><Relationship Id="rId4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7" Type="http://schemas.openxmlformats.org/officeDocument/2006/relationships/chart" Target="../charts/chart19.xml"/><Relationship Id="rId2" Type="http://schemas.openxmlformats.org/officeDocument/2006/relationships/tags" Target="../tags/tag59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2.bin"/><Relationship Id="rId4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7" Type="http://schemas.openxmlformats.org/officeDocument/2006/relationships/chart" Target="../charts/chart20.xml"/><Relationship Id="rId2" Type="http://schemas.openxmlformats.org/officeDocument/2006/relationships/tags" Target="../tags/tag61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3.bin"/><Relationship Id="rId4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4.bin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12.xml"/><Relationship Id="rId7" Type="http://schemas.openxmlformats.org/officeDocument/2006/relationships/image" Target="../media/image9.emf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Relationship Id="rId9" Type="http://schemas.openxmlformats.org/officeDocument/2006/relationships/chart" Target="../charts/chart4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66.xml"/><Relationship Id="rId7" Type="http://schemas.openxmlformats.org/officeDocument/2006/relationships/oleObject" Target="../embeddings/oleObject35.bin"/><Relationship Id="rId2" Type="http://schemas.openxmlformats.org/officeDocument/2006/relationships/tags" Target="../tags/tag65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20.emf"/><Relationship Id="rId5" Type="http://schemas.openxmlformats.org/officeDocument/2006/relationships/package" Target="../embeddings/Microsoft_Excel_Worksheet31.xlsx"/><Relationship Id="rId4" Type="http://schemas.openxmlformats.org/officeDocument/2006/relationships/slideLayout" Target="../slideLayouts/slideLayout3.xml"/><Relationship Id="rId9" Type="http://schemas.openxmlformats.org/officeDocument/2006/relationships/chart" Target="../charts/chart21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68.xml"/><Relationship Id="rId7" Type="http://schemas.openxmlformats.org/officeDocument/2006/relationships/oleObject" Target="../embeddings/oleObject36.bin"/><Relationship Id="rId2" Type="http://schemas.openxmlformats.org/officeDocument/2006/relationships/tags" Target="../tags/tag6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21.emf"/><Relationship Id="rId5" Type="http://schemas.openxmlformats.org/officeDocument/2006/relationships/package" Target="../embeddings/Microsoft_Excel_Worksheet33.xlsx"/><Relationship Id="rId4" Type="http://schemas.openxmlformats.org/officeDocument/2006/relationships/slideLayout" Target="../slideLayouts/slideLayout3.xml"/><Relationship Id="rId9" Type="http://schemas.openxmlformats.org/officeDocument/2006/relationships/chart" Target="../charts/chart22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emf"/><Relationship Id="rId3" Type="http://schemas.openxmlformats.org/officeDocument/2006/relationships/tags" Target="../tags/tag70.xml"/><Relationship Id="rId7" Type="http://schemas.openxmlformats.org/officeDocument/2006/relationships/package" Target="../embeddings/Microsoft_Excel_Worksheet35.xlsx"/><Relationship Id="rId2" Type="http://schemas.openxmlformats.org/officeDocument/2006/relationships/tags" Target="../tags/tag69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7.bin"/><Relationship Id="rId4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emf"/><Relationship Id="rId3" Type="http://schemas.openxmlformats.org/officeDocument/2006/relationships/tags" Target="../tags/tag72.xml"/><Relationship Id="rId7" Type="http://schemas.openxmlformats.org/officeDocument/2006/relationships/package" Target="../embeddings/Microsoft_Excel_Worksheet36.xlsx"/><Relationship Id="rId2" Type="http://schemas.openxmlformats.org/officeDocument/2006/relationships/tags" Target="../tags/tag71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8.bin"/><Relationship Id="rId4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7" Type="http://schemas.openxmlformats.org/officeDocument/2006/relationships/chart" Target="../charts/chart23.xml"/><Relationship Id="rId2" Type="http://schemas.openxmlformats.org/officeDocument/2006/relationships/tags" Target="../tags/tag73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9.bin"/><Relationship Id="rId4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7" Type="http://schemas.openxmlformats.org/officeDocument/2006/relationships/chart" Target="../charts/chart24.xml"/><Relationship Id="rId2" Type="http://schemas.openxmlformats.org/officeDocument/2006/relationships/tags" Target="../tags/tag75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0.bin"/><Relationship Id="rId4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emf"/><Relationship Id="rId3" Type="http://schemas.openxmlformats.org/officeDocument/2006/relationships/tags" Target="../tags/tag78.xml"/><Relationship Id="rId7" Type="http://schemas.openxmlformats.org/officeDocument/2006/relationships/package" Target="../embeddings/Microsoft_Excel_Worksheet39.xlsx"/><Relationship Id="rId2" Type="http://schemas.openxmlformats.org/officeDocument/2006/relationships/tags" Target="../tags/tag77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1.bin"/><Relationship Id="rId10" Type="http://schemas.openxmlformats.org/officeDocument/2006/relationships/image" Target="../media/image25.emf"/><Relationship Id="rId4" Type="http://schemas.openxmlformats.org/officeDocument/2006/relationships/slideLayout" Target="../slideLayouts/slideLayout3.xml"/><Relationship Id="rId9" Type="http://schemas.openxmlformats.org/officeDocument/2006/relationships/package" Target="../embeddings/Microsoft_Excel_Worksheet40.xlsx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emf"/><Relationship Id="rId3" Type="http://schemas.openxmlformats.org/officeDocument/2006/relationships/tags" Target="../tags/tag80.xml"/><Relationship Id="rId7" Type="http://schemas.openxmlformats.org/officeDocument/2006/relationships/package" Target="../embeddings/Microsoft_Excel_Worksheet41.xlsx"/><Relationship Id="rId2" Type="http://schemas.openxmlformats.org/officeDocument/2006/relationships/tags" Target="../tags/tag79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2.bin"/><Relationship Id="rId4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emf"/><Relationship Id="rId3" Type="http://schemas.openxmlformats.org/officeDocument/2006/relationships/tags" Target="../tags/tag82.xml"/><Relationship Id="rId7" Type="http://schemas.openxmlformats.org/officeDocument/2006/relationships/package" Target="../embeddings/Microsoft_Excel_Worksheet42.xlsx"/><Relationship Id="rId2" Type="http://schemas.openxmlformats.org/officeDocument/2006/relationships/tags" Target="../tags/tag81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3.bin"/><Relationship Id="rId10" Type="http://schemas.openxmlformats.org/officeDocument/2006/relationships/image" Target="../media/image28.emf"/><Relationship Id="rId4" Type="http://schemas.openxmlformats.org/officeDocument/2006/relationships/slideLayout" Target="../slideLayouts/slideLayout3.xml"/><Relationship Id="rId9" Type="http://schemas.openxmlformats.org/officeDocument/2006/relationships/package" Target="../embeddings/Microsoft_Excel_Worksheet43.xlsx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emf"/><Relationship Id="rId3" Type="http://schemas.openxmlformats.org/officeDocument/2006/relationships/tags" Target="../tags/tag84.xml"/><Relationship Id="rId7" Type="http://schemas.openxmlformats.org/officeDocument/2006/relationships/package" Target="../embeddings/Microsoft_Excel_Worksheet44.xlsx"/><Relationship Id="rId2" Type="http://schemas.openxmlformats.org/officeDocument/2006/relationships/tags" Target="../tags/tag83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4.bin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4.xlsx"/><Relationship Id="rId3" Type="http://schemas.openxmlformats.org/officeDocument/2006/relationships/tags" Target="../tags/tag14.xml"/><Relationship Id="rId7" Type="http://schemas.openxmlformats.org/officeDocument/2006/relationships/image" Target="../media/image6.emf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3.xml"/><Relationship Id="rId10" Type="http://schemas.openxmlformats.org/officeDocument/2006/relationships/chart" Target="../charts/chart5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0.emf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7" Type="http://schemas.openxmlformats.org/officeDocument/2006/relationships/chart" Target="../charts/chart25.xml"/><Relationship Id="rId2" Type="http://schemas.openxmlformats.org/officeDocument/2006/relationships/tags" Target="../tags/tag85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5.bin"/><Relationship Id="rId4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7" Type="http://schemas.openxmlformats.org/officeDocument/2006/relationships/chart" Target="../charts/chart26.xml"/><Relationship Id="rId2" Type="http://schemas.openxmlformats.org/officeDocument/2006/relationships/tags" Target="../tags/tag8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6.bin"/><Relationship Id="rId4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7" Type="http://schemas.openxmlformats.org/officeDocument/2006/relationships/chart" Target="../charts/chart27.xml"/><Relationship Id="rId2" Type="http://schemas.openxmlformats.org/officeDocument/2006/relationships/tags" Target="../tags/tag89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7.bin"/><Relationship Id="rId4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7" Type="http://schemas.openxmlformats.org/officeDocument/2006/relationships/chart" Target="../charts/chart28.xml"/><Relationship Id="rId2" Type="http://schemas.openxmlformats.org/officeDocument/2006/relationships/tags" Target="../tags/tag91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8.bin"/><Relationship Id="rId4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93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9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6.xlsx"/><Relationship Id="rId3" Type="http://schemas.openxmlformats.org/officeDocument/2006/relationships/tags" Target="../tags/tag16.xml"/><Relationship Id="rId7" Type="http://schemas.openxmlformats.org/officeDocument/2006/relationships/image" Target="../media/image6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4.xml"/><Relationship Id="rId10" Type="http://schemas.openxmlformats.org/officeDocument/2006/relationships/chart" Target="../charts/chart6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0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8.xlsx"/><Relationship Id="rId3" Type="http://schemas.openxmlformats.org/officeDocument/2006/relationships/tags" Target="../tags/tag18.xml"/><Relationship Id="rId7" Type="http://schemas.openxmlformats.org/officeDocument/2006/relationships/image" Target="../media/image6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5.xml"/><Relationship Id="rId10" Type="http://schemas.openxmlformats.org/officeDocument/2006/relationships/chart" Target="../charts/chart7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1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10.xlsx"/><Relationship Id="rId3" Type="http://schemas.openxmlformats.org/officeDocument/2006/relationships/tags" Target="../tags/tag20.xml"/><Relationship Id="rId7" Type="http://schemas.openxmlformats.org/officeDocument/2006/relationships/image" Target="../media/image6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6.xml"/><Relationship Id="rId10" Type="http://schemas.openxmlformats.org/officeDocument/2006/relationships/chart" Target="../charts/chart8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2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12.xlsx"/><Relationship Id="rId3" Type="http://schemas.openxmlformats.org/officeDocument/2006/relationships/tags" Target="../tags/tag22.xml"/><Relationship Id="rId7" Type="http://schemas.openxmlformats.org/officeDocument/2006/relationships/image" Target="../media/image6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3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13.xlsx"/><Relationship Id="rId3" Type="http://schemas.openxmlformats.org/officeDocument/2006/relationships/tags" Target="../tags/tag24.xml"/><Relationship Id="rId7" Type="http://schemas.openxmlformats.org/officeDocument/2006/relationships/image" Target="../media/image6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195456"/>
              </p:ext>
            </p:extLst>
          </p:nvPr>
        </p:nvGraphicFramePr>
        <p:xfrm>
          <a:off x="1143904" y="-444386"/>
          <a:ext cx="893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219" name="think-cell 幻灯片" r:id="rId5" imgW="420" imgH="420" progId="TCLayout.ActiveDocument.1">
                  <p:embed/>
                </p:oleObj>
              </mc:Choice>
              <mc:Fallback>
                <p:oleObj name="think-cell 幻灯片" r:id="rId5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3904" y="-444386"/>
                        <a:ext cx="893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矩形 5" hidden="1"/>
          <p:cNvSpPr/>
          <p:nvPr>
            <p:custDataLst>
              <p:tags r:id="rId3"/>
            </p:custDataLst>
          </p:nvPr>
        </p:nvSpPr>
        <p:spPr>
          <a:xfrm>
            <a:off x="114300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altLang="zh-CN" sz="3300" dirty="0">
              <a:latin typeface="Verdana" panose="020B0604030504040204" pitchFamily="34" charset="0"/>
              <a:ea typeface="等线" panose="02010600030101010101" pitchFamily="2" charset="-122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28650" y="1257880"/>
            <a:ext cx="4229100" cy="1102519"/>
          </a:xfrm>
        </p:spPr>
        <p:txBody>
          <a:bodyPr>
            <a:normAutofit/>
          </a:bodyPr>
          <a:lstStyle/>
          <a:p>
            <a:r>
              <a:rPr lang="en-US" altLang="zh-CN" sz="3300" dirty="0">
                <a:solidFill>
                  <a:srgbClr val="F5C924"/>
                </a:solidFill>
              </a:rPr>
              <a:t>MAX Data Analysis</a:t>
            </a:r>
            <a:endParaRPr lang="zh-CN" altLang="en-US" sz="3300" dirty="0">
              <a:solidFill>
                <a:srgbClr val="F5C924"/>
              </a:solidFill>
            </a:endParaRPr>
          </a:p>
        </p:txBody>
      </p:sp>
      <p:pic>
        <p:nvPicPr>
          <p:cNvPr id="16" name="logo用法_画板 1 副本 8.png" descr="logo用法_画板 1 副本 8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97335" y="3886200"/>
            <a:ext cx="1091731" cy="571467"/>
          </a:xfrm>
          <a:prstGeom prst="rect">
            <a:avLst/>
          </a:prstGeom>
          <a:ln w="12700">
            <a:miter lim="4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064207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2" name="对象 17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6491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204" name="think-cell 幻灯片" r:id="rId6" imgW="270" imgH="270" progId="TCLayout.ActiveDocument.1">
                  <p:embed/>
                </p:oleObj>
              </mc:Choice>
              <mc:Fallback>
                <p:oleObj name="think-cell 幻灯片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0" name="矩形 16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000" dirty="0">
              <a:latin typeface="Verdana" panose="020B0604030504040204" pitchFamily="34" charset="0"/>
              <a:ea typeface="等线" panose="02010600030101010101" pitchFamily="2" charset="-122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2000" dirty="0"/>
              <a:t>Molecule trend by MTH _ Value</a:t>
            </a:r>
            <a:endParaRPr lang="zh-CN" altLang="en-US" sz="20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10</a:t>
            </a:fld>
            <a:endParaRPr lang="en-US" dirty="0">
              <a:ea typeface="+mn-ea"/>
            </a:endParaRPr>
          </a:p>
        </p:txBody>
      </p:sp>
      <p:graphicFrame>
        <p:nvGraphicFramePr>
          <p:cNvPr id="99" name="Chart 6" descr="TopMNCMSTrend,Chart"/>
          <p:cNvGraphicFramePr/>
          <p:nvPr>
            <p:extLst>
              <p:ext uri="{D42A27DB-BD31-4B8C-83A1-F6EECF244321}">
                <p14:modId xmlns:p14="http://schemas.microsoft.com/office/powerpoint/2010/main" val="3988628653"/>
              </p:ext>
            </p:extLst>
          </p:nvPr>
        </p:nvGraphicFramePr>
        <p:xfrm>
          <a:off x="457200" y="819150"/>
          <a:ext cx="8382000" cy="3886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15010244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2" name="对象 17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6491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6227" name="think-cell 幻灯片" r:id="rId6" imgW="270" imgH="270" progId="TCLayout.ActiveDocument.1">
                  <p:embed/>
                </p:oleObj>
              </mc:Choice>
              <mc:Fallback>
                <p:oleObj name="think-cell 幻灯片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0" name="矩形 16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000" dirty="0">
              <a:latin typeface="Verdana" panose="020B0604030504040204" pitchFamily="34" charset="0"/>
              <a:ea typeface="等线" panose="02010600030101010101" pitchFamily="2" charset="-122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2000" dirty="0"/>
              <a:t>Molecule trend by MTH _ Volume</a:t>
            </a:r>
            <a:endParaRPr lang="zh-CN" altLang="en-US" sz="20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11</a:t>
            </a:fld>
            <a:endParaRPr lang="en-US" dirty="0">
              <a:ea typeface="+mn-ea"/>
            </a:endParaRPr>
          </a:p>
        </p:txBody>
      </p:sp>
      <p:graphicFrame>
        <p:nvGraphicFramePr>
          <p:cNvPr id="99" name="Chart 6" descr="TopMNCMSTrend,Chart"/>
          <p:cNvGraphicFramePr/>
          <p:nvPr>
            <p:extLst>
              <p:ext uri="{D42A27DB-BD31-4B8C-83A1-F6EECF244321}">
                <p14:modId xmlns:p14="http://schemas.microsoft.com/office/powerpoint/2010/main" val="798513507"/>
              </p:ext>
            </p:extLst>
          </p:nvPr>
        </p:nvGraphicFramePr>
        <p:xfrm>
          <a:off x="457200" y="819150"/>
          <a:ext cx="8382000" cy="3886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12912873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2" name="对象 17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252" name="think-cell 幻灯片" r:id="rId6" imgW="270" imgH="270" progId="TCLayout.ActiveDocument.1">
                  <p:embed/>
                </p:oleObj>
              </mc:Choice>
              <mc:Fallback>
                <p:oleObj name="think-cell 幻灯片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0" name="矩形 16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000" dirty="0">
              <a:latin typeface="Verdana" panose="020B0604030504040204" pitchFamily="34" charset="0"/>
              <a:ea typeface="等线" panose="02010600030101010101" pitchFamily="2" charset="-122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2000" dirty="0"/>
              <a:t>Molecule trend by MTH _ Value Share</a:t>
            </a:r>
            <a:endParaRPr lang="zh-CN" altLang="en-US" sz="20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12</a:t>
            </a:fld>
            <a:endParaRPr lang="en-US" dirty="0">
              <a:ea typeface="+mn-ea"/>
            </a:endParaRPr>
          </a:p>
        </p:txBody>
      </p:sp>
      <p:graphicFrame>
        <p:nvGraphicFramePr>
          <p:cNvPr id="99" name="Chart 6" descr="TopMNCMSTrend,Chart"/>
          <p:cNvGraphicFramePr/>
          <p:nvPr>
            <p:extLst>
              <p:ext uri="{D42A27DB-BD31-4B8C-83A1-F6EECF244321}">
                <p14:modId xmlns:p14="http://schemas.microsoft.com/office/powerpoint/2010/main" val="1358450343"/>
              </p:ext>
            </p:extLst>
          </p:nvPr>
        </p:nvGraphicFramePr>
        <p:xfrm>
          <a:off x="457200" y="819150"/>
          <a:ext cx="8382000" cy="3886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426279886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2" name="对象 17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276" name="think-cell 幻灯片" r:id="rId6" imgW="270" imgH="270" progId="TCLayout.ActiveDocument.1">
                  <p:embed/>
                </p:oleObj>
              </mc:Choice>
              <mc:Fallback>
                <p:oleObj name="think-cell 幻灯片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0" name="矩形 16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000" dirty="0">
              <a:latin typeface="Verdana" panose="020B0604030504040204" pitchFamily="34" charset="0"/>
              <a:ea typeface="等线" panose="02010600030101010101" pitchFamily="2" charset="-122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2000" dirty="0"/>
              <a:t>Molecule trend by MTH _ Volume Share</a:t>
            </a:r>
            <a:endParaRPr lang="zh-CN" altLang="en-US" sz="20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13</a:t>
            </a:fld>
            <a:endParaRPr lang="en-US" dirty="0">
              <a:ea typeface="+mn-ea"/>
            </a:endParaRPr>
          </a:p>
        </p:txBody>
      </p:sp>
      <p:graphicFrame>
        <p:nvGraphicFramePr>
          <p:cNvPr id="7" name="Chart 6" descr="TopMNCMSTrend,Chart"/>
          <p:cNvGraphicFramePr/>
          <p:nvPr>
            <p:extLst>
              <p:ext uri="{D42A27DB-BD31-4B8C-83A1-F6EECF244321}">
                <p14:modId xmlns:p14="http://schemas.microsoft.com/office/powerpoint/2010/main" val="692329715"/>
              </p:ext>
            </p:extLst>
          </p:nvPr>
        </p:nvGraphicFramePr>
        <p:xfrm>
          <a:off x="457200" y="819150"/>
          <a:ext cx="8382000" cy="3886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07641715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对象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09115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64" name="think-cell 幻灯片" r:id="rId6" imgW="270" imgH="270" progId="TCLayout.ActiveDocument.1">
                  <p:embed/>
                </p:oleObj>
              </mc:Choice>
              <mc:Fallback>
                <p:oleObj name="think-cell 幻灯片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矩形 1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altLang="zh-CN" sz="2400" dirty="0">
              <a:latin typeface="Verdana" panose="020B0604030504040204" pitchFamily="34" charset="0"/>
              <a:ea typeface="等线" panose="02010600030101010101" pitchFamily="2" charset="-122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roduct ranking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14</a:t>
            </a:fld>
            <a:endParaRPr lang="en-US" dirty="0">
              <a:ea typeface="+mn-ea"/>
            </a:endParaRPr>
          </a:p>
        </p:txBody>
      </p:sp>
      <p:graphicFrame>
        <p:nvGraphicFramePr>
          <p:cNvPr id="8" name="对象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13106561"/>
              </p:ext>
            </p:extLst>
          </p:nvPr>
        </p:nvGraphicFramePr>
        <p:xfrm>
          <a:off x="914400" y="895350"/>
          <a:ext cx="7300913" cy="3667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65" name="工作表" r:id="rId8" imgW="6010200" imgH="3019558" progId="Excel.Sheet.12">
                  <p:embed/>
                </p:oleObj>
              </mc:Choice>
              <mc:Fallback>
                <p:oleObj name="工作表" r:id="rId8" imgW="6010200" imgH="3019558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914400" y="895350"/>
                        <a:ext cx="7300913" cy="3667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6823113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" name="对象 19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0107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9319" name="think-cell 幻灯片" r:id="rId6" imgW="270" imgH="270" progId="TCLayout.ActiveDocument.1">
                  <p:embed/>
                </p:oleObj>
              </mc:Choice>
              <mc:Fallback>
                <p:oleObj name="think-cell 幻灯片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1" name="矩形 19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000" dirty="0">
              <a:latin typeface="Verdana" panose="020B0604030504040204" pitchFamily="34" charset="0"/>
              <a:ea typeface="等线" panose="02010600030101010101" pitchFamily="2" charset="-122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2000" dirty="0"/>
              <a:t>Product performance _ Value</a:t>
            </a:r>
            <a:endParaRPr lang="zh-CN" altLang="en-US" sz="20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15</a:t>
            </a:fld>
            <a:endParaRPr lang="en-US" dirty="0">
              <a:ea typeface="+mn-ea"/>
            </a:endParaRPr>
          </a:p>
        </p:txBody>
      </p:sp>
      <p:graphicFrame>
        <p:nvGraphicFramePr>
          <p:cNvPr id="11" name="对象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20374914"/>
              </p:ext>
            </p:extLst>
          </p:nvPr>
        </p:nvGraphicFramePr>
        <p:xfrm>
          <a:off x="304800" y="1047750"/>
          <a:ext cx="8618538" cy="34242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9320" name="工作表" r:id="rId8" imgW="7095960" imgH="2819573" progId="Excel.Sheet.12">
                  <p:embed/>
                </p:oleObj>
              </mc:Choice>
              <mc:Fallback>
                <p:oleObj name="工作表" r:id="rId8" imgW="7095960" imgH="2819573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304800" y="1047750"/>
                        <a:ext cx="8618538" cy="34242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9256418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" name="对象 19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0107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340" name="think-cell 幻灯片" r:id="rId6" imgW="270" imgH="270" progId="TCLayout.ActiveDocument.1">
                  <p:embed/>
                </p:oleObj>
              </mc:Choice>
              <mc:Fallback>
                <p:oleObj name="think-cell 幻灯片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1" name="矩形 19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000" dirty="0">
              <a:latin typeface="Verdana" panose="020B0604030504040204" pitchFamily="34" charset="0"/>
              <a:ea typeface="等线" panose="02010600030101010101" pitchFamily="2" charset="-122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2000" dirty="0"/>
              <a:t>Product performance _ Volume</a:t>
            </a:r>
            <a:endParaRPr lang="zh-CN" altLang="en-US" sz="20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16</a:t>
            </a:fld>
            <a:endParaRPr lang="en-US" dirty="0">
              <a:ea typeface="+mn-ea"/>
            </a:endParaRPr>
          </a:p>
        </p:txBody>
      </p:sp>
      <p:graphicFrame>
        <p:nvGraphicFramePr>
          <p:cNvPr id="11" name="对象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4652493"/>
              </p:ext>
            </p:extLst>
          </p:nvPr>
        </p:nvGraphicFramePr>
        <p:xfrm>
          <a:off x="304800" y="1047750"/>
          <a:ext cx="8618538" cy="34242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341" name="工作表" r:id="rId8" imgW="7095960" imgH="2819573" progId="Excel.Sheet.12">
                  <p:embed/>
                </p:oleObj>
              </mc:Choice>
              <mc:Fallback>
                <p:oleObj name="工作表" r:id="rId8" imgW="7095960" imgH="2819573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304800" y="1047750"/>
                        <a:ext cx="8618538" cy="34242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5254030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2" name="对象 17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1347" name="think-cell 幻灯片" r:id="rId6" imgW="270" imgH="270" progId="TCLayout.ActiveDocument.1">
                  <p:embed/>
                </p:oleObj>
              </mc:Choice>
              <mc:Fallback>
                <p:oleObj name="think-cell 幻灯片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0" name="矩形 16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000" dirty="0">
              <a:latin typeface="Verdana" panose="020B0604030504040204" pitchFamily="34" charset="0"/>
              <a:ea typeface="等线" panose="02010600030101010101" pitchFamily="2" charset="-122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2000" dirty="0"/>
              <a:t>Product trend by MTH _ Value</a:t>
            </a:r>
            <a:endParaRPr lang="zh-CN" altLang="en-US" sz="20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17</a:t>
            </a:fld>
            <a:endParaRPr lang="en-US" dirty="0">
              <a:ea typeface="+mn-ea"/>
            </a:endParaRPr>
          </a:p>
        </p:txBody>
      </p:sp>
      <p:graphicFrame>
        <p:nvGraphicFramePr>
          <p:cNvPr id="99" name="Chart 6" descr="TopMNCMSTrend,Chart"/>
          <p:cNvGraphicFramePr/>
          <p:nvPr>
            <p:extLst>
              <p:ext uri="{D42A27DB-BD31-4B8C-83A1-F6EECF244321}">
                <p14:modId xmlns:p14="http://schemas.microsoft.com/office/powerpoint/2010/main" val="1007541217"/>
              </p:ext>
            </p:extLst>
          </p:nvPr>
        </p:nvGraphicFramePr>
        <p:xfrm>
          <a:off x="457200" y="819150"/>
          <a:ext cx="8382000" cy="3886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68935216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2" name="对象 17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2372" name="think-cell 幻灯片" r:id="rId6" imgW="270" imgH="270" progId="TCLayout.ActiveDocument.1">
                  <p:embed/>
                </p:oleObj>
              </mc:Choice>
              <mc:Fallback>
                <p:oleObj name="think-cell 幻灯片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0" name="矩形 16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000" dirty="0">
              <a:latin typeface="Verdana" panose="020B0604030504040204" pitchFamily="34" charset="0"/>
              <a:ea typeface="等线" panose="02010600030101010101" pitchFamily="2" charset="-122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2000" dirty="0"/>
              <a:t>Product trend by MTH _ Volume</a:t>
            </a:r>
            <a:endParaRPr lang="zh-CN" altLang="en-US" sz="20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18</a:t>
            </a:fld>
            <a:endParaRPr lang="en-US" dirty="0">
              <a:ea typeface="+mn-ea"/>
            </a:endParaRPr>
          </a:p>
        </p:txBody>
      </p:sp>
      <p:graphicFrame>
        <p:nvGraphicFramePr>
          <p:cNvPr id="99" name="Chart 6" descr="TopMNCMSTrend,Chart"/>
          <p:cNvGraphicFramePr/>
          <p:nvPr>
            <p:extLst>
              <p:ext uri="{D42A27DB-BD31-4B8C-83A1-F6EECF244321}">
                <p14:modId xmlns:p14="http://schemas.microsoft.com/office/powerpoint/2010/main" val="3246365241"/>
              </p:ext>
            </p:extLst>
          </p:nvPr>
        </p:nvGraphicFramePr>
        <p:xfrm>
          <a:off x="457200" y="819150"/>
          <a:ext cx="8382000" cy="3886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00514298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2" name="对象 17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491" name="think-cell 幻灯片" r:id="rId6" imgW="270" imgH="270" progId="TCLayout.ActiveDocument.1">
                  <p:embed/>
                </p:oleObj>
              </mc:Choice>
              <mc:Fallback>
                <p:oleObj name="think-cell 幻灯片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0" name="矩形 16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000" dirty="0">
              <a:latin typeface="Verdana" panose="020B0604030504040204" pitchFamily="34" charset="0"/>
              <a:ea typeface="等线" panose="02010600030101010101" pitchFamily="2" charset="-122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2000" dirty="0"/>
              <a:t>Product trend by MTH _ Value Share</a:t>
            </a:r>
            <a:endParaRPr lang="zh-CN" altLang="en-US" sz="20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19</a:t>
            </a:fld>
            <a:endParaRPr lang="en-US" dirty="0">
              <a:ea typeface="+mn-ea"/>
            </a:endParaRPr>
          </a:p>
        </p:txBody>
      </p:sp>
      <p:graphicFrame>
        <p:nvGraphicFramePr>
          <p:cNvPr id="99" name="Chart 6" descr="TopMNCMSTrend,Chart"/>
          <p:cNvGraphicFramePr/>
          <p:nvPr>
            <p:extLst>
              <p:ext uri="{D42A27DB-BD31-4B8C-83A1-F6EECF244321}">
                <p14:modId xmlns:p14="http://schemas.microsoft.com/office/powerpoint/2010/main" val="978030453"/>
              </p:ext>
            </p:extLst>
          </p:nvPr>
        </p:nvGraphicFramePr>
        <p:xfrm>
          <a:off x="457200" y="819150"/>
          <a:ext cx="8382000" cy="3886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2443994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6EDDD48F-F40A-4490-8AE2-7D551F17D4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5968436"/>
              </p:ext>
            </p:extLst>
          </p:nvPr>
        </p:nvGraphicFramePr>
        <p:xfrm>
          <a:off x="1143844" y="844"/>
          <a:ext cx="838" cy="8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133" name="think-cell 幻灯片" r:id="rId6" imgW="421" imgH="423" progId="TCLayout.ActiveDocument.1">
                  <p:embed/>
                </p:oleObj>
              </mc:Choice>
              <mc:Fallback>
                <p:oleObj name="think-cell 幻灯片" r:id="rId6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3844" y="844"/>
                        <a:ext cx="838" cy="8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 bwMode="auto">
          <a:xfrm>
            <a:off x="1088077" y="-90510"/>
            <a:ext cx="228909" cy="300083"/>
          </a:xfrm>
          <a:prstGeom prst="rect">
            <a:avLst/>
          </a:prstGeom>
          <a:solidFill>
            <a:srgbClr val="C00000"/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accent2"/>
              </a:buClr>
            </a:pPr>
            <a:endParaRPr lang="en-US" altLang="zh-CN" sz="700" b="1" dirty="0"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" name="标题 1">
            <a:extLst>
              <a:ext uri="{FF2B5EF4-FFF2-40B4-BE49-F238E27FC236}">
                <a16:creationId xmlns:a16="http://schemas.microsoft.com/office/drawing/2014/main" id="{0981E5EC-501B-4973-96AA-40EF6FE3C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0" y="114309"/>
            <a:ext cx="6743700" cy="594121"/>
          </a:xfrm>
          <a:ln w="12700">
            <a:miter lim="400000"/>
          </a:ln>
        </p:spPr>
        <p:txBody>
          <a:bodyPr vert="horz" lIns="26789" tIns="26789" rIns="26789" bIns="26789" rtlCol="0" anchor="b">
            <a:normAutofit/>
          </a:bodyPr>
          <a:lstStyle/>
          <a:p>
            <a:r>
              <a:rPr lang="en-US" altLang="zh-CN" sz="1800" dirty="0"/>
              <a:t>Market value size</a:t>
            </a:r>
            <a:endParaRPr lang="zh-CN" altLang="en-US" sz="1800" dirty="0">
              <a:sym typeface="Helvetica Neue" charset="0"/>
            </a:endParaRP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6CB4B4D-7CA3-9044-876B-883B54F8677D}" type="slidenum">
              <a:rPr lang="en-US" altLang="zh-CN" smtClean="0"/>
              <a:t>2</a:t>
            </a:fld>
            <a:endParaRPr lang="en-US" altLang="zh-CN" dirty="0"/>
          </a:p>
        </p:txBody>
      </p:sp>
      <p:sp>
        <p:nvSpPr>
          <p:cNvPr id="198" name="文本框 22">
            <a:extLst>
              <a:ext uri="{FF2B5EF4-FFF2-40B4-BE49-F238E27FC236}">
                <a16:creationId xmlns:a16="http://schemas.microsoft.com/office/drawing/2014/main" id="{E2110750-D53E-4A36-8247-B15C9AA93045}"/>
              </a:ext>
            </a:extLst>
          </p:cNvPr>
          <p:cNvSpPr txBox="1"/>
          <p:nvPr/>
        </p:nvSpPr>
        <p:spPr>
          <a:xfrm>
            <a:off x="914400" y="895350"/>
            <a:ext cx="27924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100" b="1" u="sng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rket value size by MAT</a:t>
            </a:r>
            <a:endParaRPr lang="zh-CN" altLang="en-US" sz="1100" b="1" u="sng" dirty="0">
              <a:solidFill>
                <a:schemeClr val="accent1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7" name="文本框 22">
            <a:extLst>
              <a:ext uri="{FF2B5EF4-FFF2-40B4-BE49-F238E27FC236}">
                <a16:creationId xmlns:a16="http://schemas.microsoft.com/office/drawing/2014/main" id="{E2110750-D53E-4A36-8247-B15C9AA93045}"/>
              </a:ext>
            </a:extLst>
          </p:cNvPr>
          <p:cNvSpPr txBox="1"/>
          <p:nvPr/>
        </p:nvSpPr>
        <p:spPr>
          <a:xfrm>
            <a:off x="5334000" y="899528"/>
            <a:ext cx="27924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100" b="1" u="sng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rket value size by YTD</a:t>
            </a:r>
            <a:endParaRPr lang="zh-CN" altLang="en-US" sz="1100" b="1" u="sng" dirty="0">
              <a:solidFill>
                <a:schemeClr val="accent1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08" name="直接连接符 107">
            <a:extLst>
              <a:ext uri="{FF2B5EF4-FFF2-40B4-BE49-F238E27FC236}">
                <a16:creationId xmlns:a16="http://schemas.microsoft.com/office/drawing/2014/main" id="{830CBA6F-E043-4993-A195-5F2D668B226E}"/>
              </a:ext>
            </a:extLst>
          </p:cNvPr>
          <p:cNvCxnSpPr/>
          <p:nvPr/>
        </p:nvCxnSpPr>
        <p:spPr>
          <a:xfrm>
            <a:off x="4563708" y="971550"/>
            <a:ext cx="0" cy="378295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2" name="图表 111"/>
          <p:cNvGraphicFramePr/>
          <p:nvPr>
            <p:extLst>
              <p:ext uri="{D42A27DB-BD31-4B8C-83A1-F6EECF244321}">
                <p14:modId xmlns:p14="http://schemas.microsoft.com/office/powerpoint/2010/main" val="2956252867"/>
              </p:ext>
            </p:extLst>
          </p:nvPr>
        </p:nvGraphicFramePr>
        <p:xfrm>
          <a:off x="76200" y="1323058"/>
          <a:ext cx="4239984" cy="3257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13" name="图表 112"/>
          <p:cNvGraphicFramePr/>
          <p:nvPr>
            <p:extLst>
              <p:ext uri="{D42A27DB-BD31-4B8C-83A1-F6EECF244321}">
                <p14:modId xmlns:p14="http://schemas.microsoft.com/office/powerpoint/2010/main" val="55188297"/>
              </p:ext>
            </p:extLst>
          </p:nvPr>
        </p:nvGraphicFramePr>
        <p:xfrm>
          <a:off x="4565546" y="1323058"/>
          <a:ext cx="4239984" cy="3257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12689931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2" name="对象 17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515" name="think-cell 幻灯片" r:id="rId6" imgW="270" imgH="270" progId="TCLayout.ActiveDocument.1">
                  <p:embed/>
                </p:oleObj>
              </mc:Choice>
              <mc:Fallback>
                <p:oleObj name="think-cell 幻灯片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0" name="矩形 16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000" dirty="0">
              <a:latin typeface="Verdana" panose="020B0604030504040204" pitchFamily="34" charset="0"/>
              <a:ea typeface="等线" panose="02010600030101010101" pitchFamily="2" charset="-122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2000" dirty="0"/>
              <a:t>Product trend by MTH _ Volume Share</a:t>
            </a:r>
            <a:endParaRPr lang="zh-CN" altLang="en-US" sz="20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20</a:t>
            </a:fld>
            <a:endParaRPr lang="en-US" dirty="0">
              <a:ea typeface="+mn-ea"/>
            </a:endParaRPr>
          </a:p>
        </p:txBody>
      </p:sp>
      <p:graphicFrame>
        <p:nvGraphicFramePr>
          <p:cNvPr id="7" name="Chart 6" descr="TopMNCMSTrend,Chart"/>
          <p:cNvGraphicFramePr/>
          <p:nvPr>
            <p:extLst>
              <p:ext uri="{D42A27DB-BD31-4B8C-83A1-F6EECF244321}">
                <p14:modId xmlns:p14="http://schemas.microsoft.com/office/powerpoint/2010/main" val="2773297049"/>
              </p:ext>
            </p:extLst>
          </p:nvPr>
        </p:nvGraphicFramePr>
        <p:xfrm>
          <a:off x="457200" y="819150"/>
          <a:ext cx="8382000" cy="3886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79262134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对象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81781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076" name="think-cell 幻灯片" r:id="rId6" imgW="270" imgH="270" progId="TCLayout.ActiveDocument.1">
                  <p:embed/>
                </p:oleObj>
              </mc:Choice>
              <mc:Fallback>
                <p:oleObj name="think-cell 幻灯片" r:id="rId6" imgW="270" imgH="270" progId="TCLayout.ActiveDocument.1">
                  <p:embed/>
                  <p:pic>
                    <p:nvPicPr>
                      <p:cNvPr id="17" name="对象 1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矩形 1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400" dirty="0">
              <a:latin typeface="Verdana" panose="020B0604030504040204" pitchFamily="34" charset="0"/>
              <a:ea typeface="等线" panose="02010600030101010101" pitchFamily="2" charset="-122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Region performance _ MAT _ value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21</a:t>
            </a:fld>
            <a:endParaRPr lang="en-US" dirty="0">
              <a:ea typeface="+mn-ea"/>
            </a:endParaRPr>
          </a:p>
        </p:txBody>
      </p:sp>
      <p:graphicFrame>
        <p:nvGraphicFramePr>
          <p:cNvPr id="10" name="对象 9"/>
          <p:cNvGraphicFramePr>
            <a:graphicFrameLocks noChangeAspect="1"/>
          </p:cNvGraphicFramePr>
          <p:nvPr/>
        </p:nvGraphicFramePr>
        <p:xfrm>
          <a:off x="376238" y="852488"/>
          <a:ext cx="8432800" cy="3892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077" name="工作表" r:id="rId8" imgW="8991720" imgH="4152927" progId="Excel.Sheet.12">
                  <p:embed/>
                </p:oleObj>
              </mc:Choice>
              <mc:Fallback>
                <p:oleObj name="工作表" r:id="rId8" imgW="8991720" imgH="4152927" progId="Excel.Sheet.12">
                  <p:embed/>
                  <p:pic>
                    <p:nvPicPr>
                      <p:cNvPr id="10" name="对象 9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376238" y="852488"/>
                        <a:ext cx="8432800" cy="38925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矩形: 圆角 6">
            <a:extLst>
              <a:ext uri="{FF2B5EF4-FFF2-40B4-BE49-F238E27FC236}">
                <a16:creationId xmlns:a16="http://schemas.microsoft.com/office/drawing/2014/main" id="{540AD8DF-EFD9-4CBE-B0E5-C07D6D3BE73C}"/>
              </a:ext>
            </a:extLst>
          </p:cNvPr>
          <p:cNvSpPr/>
          <p:nvPr/>
        </p:nvSpPr>
        <p:spPr>
          <a:xfrm>
            <a:off x="0" y="1123950"/>
            <a:ext cx="990600" cy="360013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Region1</a:t>
            </a:r>
          </a:p>
          <a:p>
            <a:pPr algn="ctr"/>
            <a:r>
              <a:rPr lang="en-US" altLang="zh-CN" dirty="0"/>
              <a:t>Region2</a:t>
            </a:r>
          </a:p>
          <a:p>
            <a:pPr algn="ctr"/>
            <a:r>
              <a:rPr lang="en-US" altLang="zh-CN" dirty="0"/>
              <a:t>Region3</a:t>
            </a:r>
          </a:p>
          <a:p>
            <a:pPr algn="ctr"/>
            <a:r>
              <a:rPr lang="en-US" altLang="zh-CN" dirty="0"/>
              <a:t>Region4</a:t>
            </a:r>
          </a:p>
          <a:p>
            <a:pPr algn="ctr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3170939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对象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1152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4100" name="think-cell 幻灯片" r:id="rId6" imgW="270" imgH="270" progId="TCLayout.ActiveDocument.1">
                  <p:embed/>
                </p:oleObj>
              </mc:Choice>
              <mc:Fallback>
                <p:oleObj name="think-cell 幻灯片" r:id="rId6" imgW="270" imgH="270" progId="TCLayout.ActiveDocument.1">
                  <p:embed/>
                  <p:pic>
                    <p:nvPicPr>
                      <p:cNvPr id="17" name="对象 1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矩形 1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400" dirty="0">
              <a:latin typeface="Verdana" panose="020B0604030504040204" pitchFamily="34" charset="0"/>
              <a:ea typeface="等线" panose="02010600030101010101" pitchFamily="2" charset="-122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Region performance _ MAT _ volume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22</a:t>
            </a:fld>
            <a:endParaRPr lang="en-US" dirty="0">
              <a:ea typeface="+mn-ea"/>
            </a:endParaRPr>
          </a:p>
        </p:txBody>
      </p:sp>
      <p:graphicFrame>
        <p:nvGraphicFramePr>
          <p:cNvPr id="10" name="对象 9"/>
          <p:cNvGraphicFramePr>
            <a:graphicFrameLocks noChangeAspect="1"/>
          </p:cNvGraphicFramePr>
          <p:nvPr/>
        </p:nvGraphicFramePr>
        <p:xfrm>
          <a:off x="376238" y="852488"/>
          <a:ext cx="8432800" cy="3892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4101" name="工作表" r:id="rId8" imgW="8991720" imgH="4152927" progId="Excel.Sheet.12">
                  <p:embed/>
                </p:oleObj>
              </mc:Choice>
              <mc:Fallback>
                <p:oleObj name="工作表" r:id="rId8" imgW="8991720" imgH="4152927" progId="Excel.Sheet.12">
                  <p:embed/>
                  <p:pic>
                    <p:nvPicPr>
                      <p:cNvPr id="10" name="对象 9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376238" y="852488"/>
                        <a:ext cx="8432800" cy="38925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矩形: 圆角 6">
            <a:extLst>
              <a:ext uri="{FF2B5EF4-FFF2-40B4-BE49-F238E27FC236}">
                <a16:creationId xmlns:a16="http://schemas.microsoft.com/office/drawing/2014/main" id="{DDAE9B7D-6CCA-4113-9E37-580272B39C84}"/>
              </a:ext>
            </a:extLst>
          </p:cNvPr>
          <p:cNvSpPr/>
          <p:nvPr/>
        </p:nvSpPr>
        <p:spPr>
          <a:xfrm>
            <a:off x="0" y="1123950"/>
            <a:ext cx="990600" cy="360013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Region1</a:t>
            </a:r>
          </a:p>
          <a:p>
            <a:pPr algn="ctr"/>
            <a:r>
              <a:rPr lang="en-US" altLang="zh-CN" dirty="0"/>
              <a:t>Region2</a:t>
            </a:r>
          </a:p>
          <a:p>
            <a:pPr algn="ctr"/>
            <a:r>
              <a:rPr lang="en-US" altLang="zh-CN" dirty="0"/>
              <a:t>Region3</a:t>
            </a:r>
          </a:p>
          <a:p>
            <a:pPr algn="ctr"/>
            <a:r>
              <a:rPr lang="en-US" altLang="zh-CN" dirty="0"/>
              <a:t>Region4</a:t>
            </a:r>
          </a:p>
          <a:p>
            <a:pPr algn="ctr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1911417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对象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63177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23" name="think-cell 幻灯片" r:id="rId6" imgW="270" imgH="270" progId="TCLayout.ActiveDocument.1">
                  <p:embed/>
                </p:oleObj>
              </mc:Choice>
              <mc:Fallback>
                <p:oleObj name="think-cell 幻灯片" r:id="rId6" imgW="270" imgH="270" progId="TCLayout.ActiveDocument.1">
                  <p:embed/>
                  <p:pic>
                    <p:nvPicPr>
                      <p:cNvPr id="17" name="对象 1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矩形 1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000" dirty="0">
              <a:latin typeface="Verdana" panose="020B0604030504040204" pitchFamily="34" charset="0"/>
              <a:ea typeface="等线" panose="02010600030101010101" pitchFamily="2" charset="-122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47700" y="133350"/>
            <a:ext cx="8001000" cy="594121"/>
          </a:xfrm>
        </p:spPr>
        <p:txBody>
          <a:bodyPr>
            <a:noAutofit/>
          </a:bodyPr>
          <a:lstStyle/>
          <a:p>
            <a:r>
              <a:rPr lang="en-US" altLang="zh-CN" sz="2000" dirty="0"/>
              <a:t>Region performance _ MAT _ value</a:t>
            </a:r>
            <a:endParaRPr lang="zh-CN" altLang="en-US" sz="20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23</a:t>
            </a:fld>
            <a:endParaRPr lang="en-US" dirty="0">
              <a:ea typeface="+mn-ea"/>
            </a:endParaRPr>
          </a:p>
        </p:txBody>
      </p:sp>
      <p:graphicFrame>
        <p:nvGraphicFramePr>
          <p:cNvPr id="111" name="图表 110"/>
          <p:cNvGraphicFramePr/>
          <p:nvPr/>
        </p:nvGraphicFramePr>
        <p:xfrm>
          <a:off x="152400" y="971550"/>
          <a:ext cx="8839200" cy="35051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7" name="矩形: 圆角 6">
            <a:extLst>
              <a:ext uri="{FF2B5EF4-FFF2-40B4-BE49-F238E27FC236}">
                <a16:creationId xmlns:a16="http://schemas.microsoft.com/office/drawing/2014/main" id="{ABD6D1E6-DFB7-456B-840A-2BD3A2572A3F}"/>
              </a:ext>
            </a:extLst>
          </p:cNvPr>
          <p:cNvSpPr/>
          <p:nvPr/>
        </p:nvSpPr>
        <p:spPr>
          <a:xfrm>
            <a:off x="0" y="3276280"/>
            <a:ext cx="1447800" cy="14478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Region1</a:t>
            </a:r>
          </a:p>
          <a:p>
            <a:pPr algn="ctr"/>
            <a:r>
              <a:rPr lang="en-US" altLang="zh-CN" dirty="0"/>
              <a:t>Region2</a:t>
            </a:r>
          </a:p>
          <a:p>
            <a:pPr algn="ctr"/>
            <a:r>
              <a:rPr lang="en-US" altLang="zh-CN" dirty="0"/>
              <a:t>Region3</a:t>
            </a:r>
          </a:p>
          <a:p>
            <a:pPr algn="ctr"/>
            <a:r>
              <a:rPr lang="en-US" altLang="zh-CN" dirty="0"/>
              <a:t>Region4</a:t>
            </a:r>
          </a:p>
          <a:p>
            <a:pPr algn="ctr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140774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对象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0695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147" name="think-cell 幻灯片" r:id="rId6" imgW="270" imgH="270" progId="TCLayout.ActiveDocument.1">
                  <p:embed/>
                </p:oleObj>
              </mc:Choice>
              <mc:Fallback>
                <p:oleObj name="think-cell 幻灯片" r:id="rId6" imgW="270" imgH="270" progId="TCLayout.ActiveDocument.1">
                  <p:embed/>
                  <p:pic>
                    <p:nvPicPr>
                      <p:cNvPr id="17" name="对象 1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矩形 1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000" dirty="0">
              <a:latin typeface="Verdana" panose="020B0604030504040204" pitchFamily="34" charset="0"/>
              <a:ea typeface="等线" panose="02010600030101010101" pitchFamily="2" charset="-122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133350"/>
            <a:ext cx="8496300" cy="594121"/>
          </a:xfrm>
        </p:spPr>
        <p:txBody>
          <a:bodyPr>
            <a:noAutofit/>
          </a:bodyPr>
          <a:lstStyle/>
          <a:p>
            <a:r>
              <a:rPr lang="en-US" altLang="zh-CN" sz="2000" dirty="0"/>
              <a:t>Region performance _ MAT _ volume</a:t>
            </a:r>
            <a:endParaRPr lang="zh-CN" altLang="en-US" sz="20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24</a:t>
            </a:fld>
            <a:endParaRPr lang="en-US" dirty="0">
              <a:ea typeface="+mn-ea"/>
            </a:endParaRPr>
          </a:p>
        </p:txBody>
      </p:sp>
      <p:graphicFrame>
        <p:nvGraphicFramePr>
          <p:cNvPr id="111" name="图表 110"/>
          <p:cNvGraphicFramePr/>
          <p:nvPr/>
        </p:nvGraphicFramePr>
        <p:xfrm>
          <a:off x="152400" y="971550"/>
          <a:ext cx="8839200" cy="35051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" name="矩形: 圆角 3">
            <a:extLst>
              <a:ext uri="{FF2B5EF4-FFF2-40B4-BE49-F238E27FC236}">
                <a16:creationId xmlns:a16="http://schemas.microsoft.com/office/drawing/2014/main" id="{861EB683-C260-4259-8747-FC7FF8D5A088}"/>
              </a:ext>
            </a:extLst>
          </p:cNvPr>
          <p:cNvSpPr/>
          <p:nvPr/>
        </p:nvSpPr>
        <p:spPr>
          <a:xfrm>
            <a:off x="0" y="3276280"/>
            <a:ext cx="1447800" cy="14478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Region1</a:t>
            </a:r>
          </a:p>
          <a:p>
            <a:pPr algn="ctr"/>
            <a:r>
              <a:rPr lang="en-US" altLang="zh-CN" dirty="0"/>
              <a:t>Region2</a:t>
            </a:r>
          </a:p>
          <a:p>
            <a:pPr algn="ctr"/>
            <a:r>
              <a:rPr lang="en-US" altLang="zh-CN" dirty="0"/>
              <a:t>Region3</a:t>
            </a:r>
          </a:p>
          <a:p>
            <a:pPr algn="ctr"/>
            <a:r>
              <a:rPr lang="en-US" altLang="zh-CN" dirty="0"/>
              <a:t>Region4</a:t>
            </a:r>
          </a:p>
          <a:p>
            <a:pPr algn="ctr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3930590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对象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2032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580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矩形 1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200" dirty="0">
              <a:latin typeface="Verdana" panose="020B0604030504040204" pitchFamily="34" charset="0"/>
              <a:ea typeface="等线" panose="02010600030101010101" pitchFamily="2" charset="-122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Province performance _ MAT _ value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25</a:t>
            </a:fld>
            <a:endParaRPr lang="en-US" dirty="0">
              <a:ea typeface="+mn-ea"/>
            </a:endParaRPr>
          </a:p>
        </p:txBody>
      </p:sp>
      <p:graphicFrame>
        <p:nvGraphicFramePr>
          <p:cNvPr id="10" name="对象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78931500"/>
              </p:ext>
            </p:extLst>
          </p:nvPr>
        </p:nvGraphicFramePr>
        <p:xfrm>
          <a:off x="376238" y="852488"/>
          <a:ext cx="8432800" cy="3892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581" name="工作表" r:id="rId7" imgW="8991720" imgH="4152927" progId="Excel.Sheet.12">
                  <p:embed/>
                </p:oleObj>
              </mc:Choice>
              <mc:Fallback>
                <p:oleObj name="工作表" r:id="rId7" imgW="8991720" imgH="4152927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76238" y="852488"/>
                        <a:ext cx="8432800" cy="38925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5443552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对象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2032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602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矩形 1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200" dirty="0">
              <a:latin typeface="Verdana" panose="020B0604030504040204" pitchFamily="34" charset="0"/>
              <a:ea typeface="等线" panose="02010600030101010101" pitchFamily="2" charset="-122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Province performance _ MAT _ volume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26</a:t>
            </a:fld>
            <a:endParaRPr lang="en-US" dirty="0">
              <a:ea typeface="+mn-ea"/>
            </a:endParaRPr>
          </a:p>
        </p:txBody>
      </p:sp>
      <p:graphicFrame>
        <p:nvGraphicFramePr>
          <p:cNvPr id="10" name="对象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88948563"/>
              </p:ext>
            </p:extLst>
          </p:nvPr>
        </p:nvGraphicFramePr>
        <p:xfrm>
          <a:off x="376238" y="852488"/>
          <a:ext cx="8432800" cy="3892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603" name="工作表" r:id="rId7" imgW="8991720" imgH="4152927" progId="Excel.Sheet.12">
                  <p:embed/>
                </p:oleObj>
              </mc:Choice>
              <mc:Fallback>
                <p:oleObj name="工作表" r:id="rId7" imgW="8991720" imgH="4152927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76238" y="852488"/>
                        <a:ext cx="8432800" cy="38925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8828529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对象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4504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819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矩形 1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200" dirty="0">
              <a:latin typeface="Verdana" panose="020B0604030504040204" pitchFamily="34" charset="0"/>
              <a:ea typeface="等线" panose="02010600030101010101" pitchFamily="2" charset="-122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47700" y="133350"/>
            <a:ext cx="8001000" cy="594121"/>
          </a:xfrm>
        </p:spPr>
        <p:txBody>
          <a:bodyPr>
            <a:noAutofit/>
          </a:bodyPr>
          <a:lstStyle/>
          <a:p>
            <a:r>
              <a:rPr lang="en-US" altLang="zh-CN" sz="2000" dirty="0"/>
              <a:t>Competitors performance by province _ MAT _ value</a:t>
            </a:r>
            <a:endParaRPr lang="zh-CN" altLang="en-US" sz="20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27</a:t>
            </a:fld>
            <a:endParaRPr lang="en-US" dirty="0">
              <a:ea typeface="+mn-ea"/>
            </a:endParaRPr>
          </a:p>
        </p:txBody>
      </p:sp>
      <p:graphicFrame>
        <p:nvGraphicFramePr>
          <p:cNvPr id="111" name="图表 110"/>
          <p:cNvGraphicFramePr/>
          <p:nvPr>
            <p:extLst>
              <p:ext uri="{D42A27DB-BD31-4B8C-83A1-F6EECF244321}">
                <p14:modId xmlns:p14="http://schemas.microsoft.com/office/powerpoint/2010/main" val="3842420223"/>
              </p:ext>
            </p:extLst>
          </p:nvPr>
        </p:nvGraphicFramePr>
        <p:xfrm>
          <a:off x="152400" y="971550"/>
          <a:ext cx="8839200" cy="35051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79521707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对象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843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矩形 1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200" dirty="0">
              <a:latin typeface="Verdana" panose="020B0604030504040204" pitchFamily="34" charset="0"/>
              <a:ea typeface="等线" panose="02010600030101010101" pitchFamily="2" charset="-122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133350"/>
            <a:ext cx="8496300" cy="594121"/>
          </a:xfrm>
        </p:spPr>
        <p:txBody>
          <a:bodyPr>
            <a:noAutofit/>
          </a:bodyPr>
          <a:lstStyle/>
          <a:p>
            <a:r>
              <a:rPr lang="en-US" altLang="zh-CN" sz="2000" dirty="0"/>
              <a:t>Competitors performance by province _ MAT _ volume</a:t>
            </a:r>
            <a:endParaRPr lang="zh-CN" altLang="en-US" sz="20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28</a:t>
            </a:fld>
            <a:endParaRPr lang="en-US" dirty="0">
              <a:ea typeface="+mn-ea"/>
            </a:endParaRPr>
          </a:p>
        </p:txBody>
      </p:sp>
      <p:graphicFrame>
        <p:nvGraphicFramePr>
          <p:cNvPr id="111" name="图表 110"/>
          <p:cNvGraphicFramePr/>
          <p:nvPr/>
        </p:nvGraphicFramePr>
        <p:xfrm>
          <a:off x="152400" y="971550"/>
          <a:ext cx="8839200" cy="35051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90555603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对象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4636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7814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矩形 38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altLang="zh-CN" sz="2400" dirty="0">
              <a:latin typeface="Verdana" panose="020B0604030504040204" pitchFamily="34" charset="0"/>
              <a:ea typeface="等线" panose="02010600030101010101" pitchFamily="2" charset="-122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ity tiers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29</a:t>
            </a:fld>
            <a:endParaRPr lang="en-US" dirty="0">
              <a:ea typeface="+mn-ea"/>
            </a:endParaRPr>
          </a:p>
        </p:txBody>
      </p:sp>
      <p:sp>
        <p:nvSpPr>
          <p:cNvPr id="4" name="任意多边形 5"/>
          <p:cNvSpPr/>
          <p:nvPr/>
        </p:nvSpPr>
        <p:spPr>
          <a:xfrm>
            <a:off x="2139108" y="1418222"/>
            <a:ext cx="498054" cy="608905"/>
          </a:xfrm>
          <a:custGeom>
            <a:avLst/>
            <a:gdLst>
              <a:gd name="connsiteX0" fmla="*/ 0 w 598345"/>
              <a:gd name="connsiteY0" fmla="*/ 812799 h 812799"/>
              <a:gd name="connsiteX1" fmla="*/ 299173 w 598345"/>
              <a:gd name="connsiteY1" fmla="*/ 0 h 812799"/>
              <a:gd name="connsiteX2" fmla="*/ 299173 w 598345"/>
              <a:gd name="connsiteY2" fmla="*/ 0 h 812799"/>
              <a:gd name="connsiteX3" fmla="*/ 598345 w 598345"/>
              <a:gd name="connsiteY3" fmla="*/ 812799 h 812799"/>
              <a:gd name="connsiteX4" fmla="*/ 0 w 598345"/>
              <a:gd name="connsiteY4" fmla="*/ 812799 h 81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8345" h="812799">
                <a:moveTo>
                  <a:pt x="0" y="812799"/>
                </a:moveTo>
                <a:lnTo>
                  <a:pt x="299173" y="0"/>
                </a:lnTo>
                <a:lnTo>
                  <a:pt x="299173" y="0"/>
                </a:lnTo>
                <a:lnTo>
                  <a:pt x="598345" y="812799"/>
                </a:lnTo>
                <a:lnTo>
                  <a:pt x="0" y="812799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 w="25400" cap="flat" cmpd="sng" algn="ctr">
            <a:solidFill>
              <a:srgbClr val="FFFFFF"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0" vert="horz" wrap="square" lIns="23481" tIns="23481" rIns="23481" bIns="23481" numCol="1" spcCol="1270" anchor="ctr" anchorCtr="0">
            <a:noAutofit/>
          </a:bodyPr>
          <a:lstStyle/>
          <a:p>
            <a:pPr algn="ctr" defTabSz="821818" fontAlgn="base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endParaRPr lang="en-US" altLang="zh-CN" sz="1000" dirty="0">
              <a:solidFill>
                <a:schemeClr val="bg1"/>
              </a:solidFill>
              <a:latin typeface="+mn-ea"/>
              <a:ea typeface="+mn-ea"/>
              <a:cs typeface="+mn-cs"/>
            </a:endParaRPr>
          </a:p>
          <a:p>
            <a:pPr algn="ctr" defTabSz="821818" fontAlgn="base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zh-CN" altLang="en-US" sz="1000" dirty="0">
                <a:solidFill>
                  <a:schemeClr val="bg1"/>
                </a:solidFill>
                <a:latin typeface="+mn-ea"/>
                <a:ea typeface="+mn-ea"/>
                <a:cs typeface="+mn-cs"/>
              </a:rPr>
              <a:t>一线</a:t>
            </a:r>
          </a:p>
        </p:txBody>
      </p:sp>
      <p:sp>
        <p:nvSpPr>
          <p:cNvPr id="5" name="任意多边形 6"/>
          <p:cNvSpPr/>
          <p:nvPr/>
        </p:nvSpPr>
        <p:spPr>
          <a:xfrm>
            <a:off x="1890082" y="2027128"/>
            <a:ext cx="996108" cy="608905"/>
          </a:xfrm>
          <a:custGeom>
            <a:avLst/>
            <a:gdLst>
              <a:gd name="connsiteX0" fmla="*/ 0 w 1196691"/>
              <a:gd name="connsiteY0" fmla="*/ 812799 h 812799"/>
              <a:gd name="connsiteX1" fmla="*/ 299175 w 1196691"/>
              <a:gd name="connsiteY1" fmla="*/ 0 h 812799"/>
              <a:gd name="connsiteX2" fmla="*/ 897516 w 1196691"/>
              <a:gd name="connsiteY2" fmla="*/ 0 h 812799"/>
              <a:gd name="connsiteX3" fmla="*/ 1196691 w 1196691"/>
              <a:gd name="connsiteY3" fmla="*/ 812799 h 812799"/>
              <a:gd name="connsiteX4" fmla="*/ 0 w 1196691"/>
              <a:gd name="connsiteY4" fmla="*/ 812799 h 81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6691" h="812799">
                <a:moveTo>
                  <a:pt x="0" y="812799"/>
                </a:moveTo>
                <a:lnTo>
                  <a:pt x="299175" y="0"/>
                </a:lnTo>
                <a:lnTo>
                  <a:pt x="897516" y="0"/>
                </a:lnTo>
                <a:lnTo>
                  <a:pt x="1196691" y="812799"/>
                </a:lnTo>
                <a:lnTo>
                  <a:pt x="0" y="812799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w="25400" cap="flat" cmpd="sng" algn="ctr">
            <a:solidFill>
              <a:srgbClr val="FFFFFF"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0" vert="horz" wrap="square" lIns="321324" tIns="23481" rIns="321324" bIns="23481" numCol="1" spcCol="1270" anchor="ctr" anchorCtr="0">
            <a:noAutofit/>
          </a:bodyPr>
          <a:lstStyle/>
          <a:p>
            <a:pPr algn="ctr" defTabSz="821818" fontAlgn="base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zh-CN" altLang="en-US" sz="1000" dirty="0">
                <a:solidFill>
                  <a:schemeClr val="bg1"/>
                </a:solidFill>
                <a:latin typeface="+mn-ea"/>
                <a:ea typeface="+mn-ea"/>
                <a:cs typeface="+mn-cs"/>
              </a:rPr>
              <a:t>二线</a:t>
            </a:r>
          </a:p>
        </p:txBody>
      </p:sp>
      <p:sp>
        <p:nvSpPr>
          <p:cNvPr id="6" name="任意多边形 7"/>
          <p:cNvSpPr/>
          <p:nvPr/>
        </p:nvSpPr>
        <p:spPr>
          <a:xfrm>
            <a:off x="1641054" y="2636034"/>
            <a:ext cx="1494162" cy="608905"/>
          </a:xfrm>
          <a:custGeom>
            <a:avLst/>
            <a:gdLst>
              <a:gd name="connsiteX0" fmla="*/ 0 w 1795037"/>
              <a:gd name="connsiteY0" fmla="*/ 812799 h 812799"/>
              <a:gd name="connsiteX1" fmla="*/ 299175 w 1795037"/>
              <a:gd name="connsiteY1" fmla="*/ 0 h 812799"/>
              <a:gd name="connsiteX2" fmla="*/ 1495862 w 1795037"/>
              <a:gd name="connsiteY2" fmla="*/ 0 h 812799"/>
              <a:gd name="connsiteX3" fmla="*/ 1795037 w 1795037"/>
              <a:gd name="connsiteY3" fmla="*/ 812799 h 812799"/>
              <a:gd name="connsiteX4" fmla="*/ 0 w 1795037"/>
              <a:gd name="connsiteY4" fmla="*/ 812799 h 81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95037" h="812799">
                <a:moveTo>
                  <a:pt x="0" y="812799"/>
                </a:moveTo>
                <a:lnTo>
                  <a:pt x="299175" y="0"/>
                </a:lnTo>
                <a:lnTo>
                  <a:pt x="1495862" y="0"/>
                </a:lnTo>
                <a:lnTo>
                  <a:pt x="1795037" y="812799"/>
                </a:lnTo>
                <a:lnTo>
                  <a:pt x="0" y="812799"/>
                </a:lnTo>
                <a:close/>
              </a:path>
            </a:pathLst>
          </a:custGeom>
          <a:solidFill>
            <a:srgbClr val="F3B457"/>
          </a:solidFill>
          <a:ln w="25400" cap="flat" cmpd="sng" algn="ctr">
            <a:solidFill>
              <a:srgbClr val="FFFFFF"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0" vert="horz" wrap="square" lIns="470245" tIns="23481" rIns="470246" bIns="23481" numCol="1" spcCol="1270" anchor="ctr" anchorCtr="0">
            <a:noAutofit/>
          </a:bodyPr>
          <a:lstStyle/>
          <a:p>
            <a:pPr algn="ctr" defTabSz="821818" fontAlgn="base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zh-CN" altLang="en-US" sz="1000" dirty="0">
                <a:solidFill>
                  <a:schemeClr val="bg1"/>
                </a:solidFill>
                <a:latin typeface="+mn-ea"/>
                <a:ea typeface="+mn-ea"/>
                <a:cs typeface="+mn-cs"/>
              </a:rPr>
              <a:t>三线</a:t>
            </a:r>
          </a:p>
        </p:txBody>
      </p:sp>
      <p:sp>
        <p:nvSpPr>
          <p:cNvPr id="7" name="任意多边形 8"/>
          <p:cNvSpPr/>
          <p:nvPr/>
        </p:nvSpPr>
        <p:spPr>
          <a:xfrm>
            <a:off x="1392027" y="3244941"/>
            <a:ext cx="1992216" cy="608905"/>
          </a:xfrm>
          <a:custGeom>
            <a:avLst/>
            <a:gdLst>
              <a:gd name="connsiteX0" fmla="*/ 0 w 2393383"/>
              <a:gd name="connsiteY0" fmla="*/ 812799 h 812799"/>
              <a:gd name="connsiteX1" fmla="*/ 299175 w 2393383"/>
              <a:gd name="connsiteY1" fmla="*/ 0 h 812799"/>
              <a:gd name="connsiteX2" fmla="*/ 2094208 w 2393383"/>
              <a:gd name="connsiteY2" fmla="*/ 0 h 812799"/>
              <a:gd name="connsiteX3" fmla="*/ 2393383 w 2393383"/>
              <a:gd name="connsiteY3" fmla="*/ 812799 h 812799"/>
              <a:gd name="connsiteX4" fmla="*/ 0 w 2393383"/>
              <a:gd name="connsiteY4" fmla="*/ 812799 h 81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93383" h="812799">
                <a:moveTo>
                  <a:pt x="0" y="812799"/>
                </a:moveTo>
                <a:lnTo>
                  <a:pt x="299175" y="0"/>
                </a:lnTo>
                <a:lnTo>
                  <a:pt x="2094208" y="0"/>
                </a:lnTo>
                <a:lnTo>
                  <a:pt x="2393383" y="812799"/>
                </a:lnTo>
                <a:lnTo>
                  <a:pt x="0" y="812799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25400" cap="flat" cmpd="sng" algn="ctr">
            <a:solidFill>
              <a:srgbClr val="FFFFFF"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0" vert="horz" wrap="square" lIns="619167" tIns="23481" rIns="619167" bIns="23481" numCol="1" spcCol="1270" anchor="ctr" anchorCtr="0">
            <a:noAutofit/>
          </a:bodyPr>
          <a:lstStyle/>
          <a:p>
            <a:pPr algn="ctr" defTabSz="821818" fontAlgn="base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zh-CN" altLang="en-US" sz="1000" dirty="0">
                <a:solidFill>
                  <a:schemeClr val="tx1"/>
                </a:solidFill>
                <a:latin typeface="+mn-ea"/>
                <a:ea typeface="+mn-ea"/>
                <a:cs typeface="+mn-cs"/>
              </a:rPr>
              <a:t>四线</a:t>
            </a:r>
          </a:p>
        </p:txBody>
      </p:sp>
      <p:sp>
        <p:nvSpPr>
          <p:cNvPr id="8" name="任意多边形 9"/>
          <p:cNvSpPr/>
          <p:nvPr/>
        </p:nvSpPr>
        <p:spPr>
          <a:xfrm>
            <a:off x="1143000" y="3853847"/>
            <a:ext cx="2490271" cy="608905"/>
          </a:xfrm>
          <a:custGeom>
            <a:avLst/>
            <a:gdLst>
              <a:gd name="connsiteX0" fmla="*/ 0 w 2991730"/>
              <a:gd name="connsiteY0" fmla="*/ 812799 h 812799"/>
              <a:gd name="connsiteX1" fmla="*/ 299175 w 2991730"/>
              <a:gd name="connsiteY1" fmla="*/ 0 h 812799"/>
              <a:gd name="connsiteX2" fmla="*/ 2692555 w 2991730"/>
              <a:gd name="connsiteY2" fmla="*/ 0 h 812799"/>
              <a:gd name="connsiteX3" fmla="*/ 2991730 w 2991730"/>
              <a:gd name="connsiteY3" fmla="*/ 812799 h 812799"/>
              <a:gd name="connsiteX4" fmla="*/ 0 w 2991730"/>
              <a:gd name="connsiteY4" fmla="*/ 812799 h 81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91730" h="812799">
                <a:moveTo>
                  <a:pt x="0" y="812799"/>
                </a:moveTo>
                <a:lnTo>
                  <a:pt x="299175" y="0"/>
                </a:lnTo>
                <a:lnTo>
                  <a:pt x="2692555" y="0"/>
                </a:lnTo>
                <a:lnTo>
                  <a:pt x="2991730" y="812799"/>
                </a:lnTo>
                <a:lnTo>
                  <a:pt x="0" y="812799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25400" cap="flat" cmpd="sng" algn="ctr">
            <a:solidFill>
              <a:srgbClr val="FFFFFF"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0" vert="horz" wrap="square" lIns="768088" tIns="23481" rIns="768091" bIns="23481" numCol="1" spcCol="1270" anchor="ctr" anchorCtr="0">
            <a:noAutofit/>
          </a:bodyPr>
          <a:lstStyle/>
          <a:p>
            <a:pPr algn="ctr" defTabSz="821818" fontAlgn="base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zh-CN" altLang="en-US" sz="1000" dirty="0">
                <a:solidFill>
                  <a:schemeClr val="tx1"/>
                </a:solidFill>
                <a:latin typeface="+mn-ea"/>
                <a:ea typeface="+mn-ea"/>
                <a:cs typeface="+mn-cs"/>
              </a:rPr>
              <a:t>五线</a:t>
            </a:r>
          </a:p>
        </p:txBody>
      </p:sp>
      <p:grpSp>
        <p:nvGrpSpPr>
          <p:cNvPr id="40" name="组合 39"/>
          <p:cNvGrpSpPr/>
          <p:nvPr/>
        </p:nvGrpSpPr>
        <p:grpSpPr>
          <a:xfrm>
            <a:off x="990600" y="2026250"/>
            <a:ext cx="7086599" cy="1821449"/>
            <a:chOff x="1265949" y="2026250"/>
            <a:chExt cx="6592489" cy="1821449"/>
          </a:xfrm>
        </p:grpSpPr>
        <p:cxnSp>
          <p:nvCxnSpPr>
            <p:cNvPr id="9" name="直接连接符 12"/>
            <p:cNvCxnSpPr/>
            <p:nvPr/>
          </p:nvCxnSpPr>
          <p:spPr>
            <a:xfrm>
              <a:off x="1265949" y="2026250"/>
              <a:ext cx="6592489" cy="0"/>
            </a:xfrm>
            <a:prstGeom prst="line">
              <a:avLst/>
            </a:prstGeom>
            <a:noFill/>
            <a:ln w="19050" cap="flat" cmpd="sng" algn="ctr">
              <a:solidFill>
                <a:srgbClr val="FFFFFF">
                  <a:lumMod val="65000"/>
                </a:srgbClr>
              </a:solidFill>
              <a:prstDash val="sysDash"/>
            </a:ln>
            <a:effectLst/>
          </p:spPr>
        </p:cxnSp>
        <p:cxnSp>
          <p:nvCxnSpPr>
            <p:cNvPr id="10" name="直接连接符 13"/>
            <p:cNvCxnSpPr/>
            <p:nvPr/>
          </p:nvCxnSpPr>
          <p:spPr>
            <a:xfrm>
              <a:off x="1265949" y="2635742"/>
              <a:ext cx="6592489" cy="0"/>
            </a:xfrm>
            <a:prstGeom prst="line">
              <a:avLst/>
            </a:prstGeom>
            <a:noFill/>
            <a:ln w="19050" cap="flat" cmpd="sng" algn="ctr">
              <a:solidFill>
                <a:srgbClr val="FFFFFF">
                  <a:lumMod val="65000"/>
                </a:srgbClr>
              </a:solidFill>
              <a:prstDash val="sysDash"/>
            </a:ln>
            <a:effectLst/>
          </p:spPr>
        </p:cxnSp>
        <p:cxnSp>
          <p:nvCxnSpPr>
            <p:cNvPr id="11" name="直接连接符 14"/>
            <p:cNvCxnSpPr/>
            <p:nvPr/>
          </p:nvCxnSpPr>
          <p:spPr>
            <a:xfrm>
              <a:off x="1265949" y="3246990"/>
              <a:ext cx="6592489" cy="0"/>
            </a:xfrm>
            <a:prstGeom prst="line">
              <a:avLst/>
            </a:prstGeom>
            <a:noFill/>
            <a:ln w="19050" cap="flat" cmpd="sng" algn="ctr">
              <a:solidFill>
                <a:srgbClr val="FFFFFF">
                  <a:lumMod val="65000"/>
                </a:srgbClr>
              </a:solidFill>
              <a:prstDash val="sysDash"/>
            </a:ln>
            <a:effectLst/>
          </p:spPr>
        </p:cxnSp>
        <p:cxnSp>
          <p:nvCxnSpPr>
            <p:cNvPr id="12" name="直接连接符 15"/>
            <p:cNvCxnSpPr/>
            <p:nvPr/>
          </p:nvCxnSpPr>
          <p:spPr>
            <a:xfrm>
              <a:off x="1265949" y="3847699"/>
              <a:ext cx="6592489" cy="0"/>
            </a:xfrm>
            <a:prstGeom prst="line">
              <a:avLst/>
            </a:prstGeom>
            <a:noFill/>
            <a:ln w="19050" cap="flat" cmpd="sng" algn="ctr">
              <a:solidFill>
                <a:srgbClr val="FFFFFF">
                  <a:lumMod val="65000"/>
                </a:srgbClr>
              </a:solidFill>
              <a:prstDash val="sysDash"/>
            </a:ln>
            <a:effectLst/>
          </p:spPr>
        </p:cxnSp>
      </p:grpSp>
      <p:sp>
        <p:nvSpPr>
          <p:cNvPr id="13" name="右大括号 16"/>
          <p:cNvSpPr/>
          <p:nvPr/>
        </p:nvSpPr>
        <p:spPr>
          <a:xfrm>
            <a:off x="3752073" y="1530929"/>
            <a:ext cx="193884" cy="377570"/>
          </a:xfrm>
          <a:prstGeom prst="rightBrace">
            <a:avLst/>
          </a:prstGeom>
          <a:noFill/>
          <a:ln w="19050" cap="flat" cmpd="sng" algn="ctr">
            <a:solidFill>
              <a:schemeClr val="bg1">
                <a:lumMod val="75000"/>
              </a:scheme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200" b="0">
              <a:solidFill>
                <a:srgbClr val="7F7F7F"/>
              </a:solidFill>
              <a:latin typeface="+mn-ea"/>
              <a:ea typeface="+mn-ea"/>
              <a:cs typeface="+mn-cs"/>
            </a:endParaRPr>
          </a:p>
        </p:txBody>
      </p:sp>
      <p:sp>
        <p:nvSpPr>
          <p:cNvPr id="14" name="右大括号 17"/>
          <p:cNvSpPr/>
          <p:nvPr/>
        </p:nvSpPr>
        <p:spPr>
          <a:xfrm>
            <a:off x="3752073" y="2119342"/>
            <a:ext cx="193884" cy="377570"/>
          </a:xfrm>
          <a:prstGeom prst="rightBrace">
            <a:avLst/>
          </a:prstGeom>
          <a:noFill/>
          <a:ln w="19050" cap="flat" cmpd="sng" algn="ctr">
            <a:solidFill>
              <a:schemeClr val="bg1">
                <a:lumMod val="75000"/>
              </a:scheme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200" b="0">
              <a:solidFill>
                <a:srgbClr val="7F7F7F"/>
              </a:solidFill>
              <a:latin typeface="+mn-ea"/>
              <a:ea typeface="+mn-ea"/>
              <a:cs typeface="+mn-cs"/>
            </a:endParaRPr>
          </a:p>
        </p:txBody>
      </p:sp>
      <p:sp>
        <p:nvSpPr>
          <p:cNvPr id="15" name="右大括号 18"/>
          <p:cNvSpPr/>
          <p:nvPr/>
        </p:nvSpPr>
        <p:spPr>
          <a:xfrm>
            <a:off x="3752073" y="2730591"/>
            <a:ext cx="193884" cy="377570"/>
          </a:xfrm>
          <a:prstGeom prst="rightBrace">
            <a:avLst/>
          </a:prstGeom>
          <a:noFill/>
          <a:ln w="19050" cap="flat" cmpd="sng" algn="ctr">
            <a:solidFill>
              <a:schemeClr val="bg1">
                <a:lumMod val="75000"/>
              </a:scheme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200" b="0">
              <a:solidFill>
                <a:srgbClr val="7F7F7F"/>
              </a:solidFill>
              <a:latin typeface="+mn-ea"/>
              <a:ea typeface="+mn-ea"/>
              <a:cs typeface="+mn-cs"/>
            </a:endParaRPr>
          </a:p>
        </p:txBody>
      </p:sp>
      <p:sp>
        <p:nvSpPr>
          <p:cNvPr id="16" name="右大括号 19"/>
          <p:cNvSpPr/>
          <p:nvPr/>
        </p:nvSpPr>
        <p:spPr>
          <a:xfrm>
            <a:off x="3752073" y="3352378"/>
            <a:ext cx="193884" cy="377570"/>
          </a:xfrm>
          <a:prstGeom prst="rightBrace">
            <a:avLst/>
          </a:prstGeom>
          <a:noFill/>
          <a:ln w="19050" cap="flat" cmpd="sng" algn="ctr">
            <a:solidFill>
              <a:schemeClr val="bg1">
                <a:lumMod val="75000"/>
              </a:scheme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200" b="0">
              <a:solidFill>
                <a:srgbClr val="7F7F7F"/>
              </a:solidFill>
              <a:latin typeface="+mn-ea"/>
              <a:ea typeface="+mn-ea"/>
              <a:cs typeface="+mn-cs"/>
            </a:endParaRPr>
          </a:p>
        </p:txBody>
      </p:sp>
      <p:sp>
        <p:nvSpPr>
          <p:cNvPr id="17" name="右大括号 20"/>
          <p:cNvSpPr/>
          <p:nvPr/>
        </p:nvSpPr>
        <p:spPr>
          <a:xfrm>
            <a:off x="3752073" y="3963626"/>
            <a:ext cx="193884" cy="377570"/>
          </a:xfrm>
          <a:prstGeom prst="rightBrace">
            <a:avLst/>
          </a:prstGeom>
          <a:noFill/>
          <a:ln w="19050" cap="flat" cmpd="sng" algn="ctr">
            <a:solidFill>
              <a:schemeClr val="bg1">
                <a:lumMod val="75000"/>
              </a:scheme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200" b="0">
              <a:solidFill>
                <a:srgbClr val="7F7F7F"/>
              </a:solidFill>
              <a:latin typeface="+mn-ea"/>
              <a:ea typeface="+mn-ea"/>
              <a:cs typeface="+mn-cs"/>
            </a:endParaRPr>
          </a:p>
        </p:txBody>
      </p:sp>
      <p:sp>
        <p:nvSpPr>
          <p:cNvPr id="18" name="矩形 22"/>
          <p:cNvSpPr/>
          <p:nvPr/>
        </p:nvSpPr>
        <p:spPr>
          <a:xfrm>
            <a:off x="1159247" y="895350"/>
            <a:ext cx="3094640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050" dirty="0">
                <a:solidFill>
                  <a:srgbClr val="19324C"/>
                </a:solidFill>
                <a:latin typeface="+mn-ea"/>
                <a:ea typeface="+mn-ea"/>
              </a:rPr>
              <a:t>城市级别划分依据：</a:t>
            </a:r>
            <a:endParaRPr lang="en-US" altLang="zh-CN" sz="1050" dirty="0">
              <a:solidFill>
                <a:srgbClr val="19324C"/>
              </a:solidFill>
              <a:latin typeface="+mn-ea"/>
              <a:ea typeface="+mn-ea"/>
            </a:endParaRPr>
          </a:p>
          <a:p>
            <a:pPr algn="l"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050" b="0" i="1" u="sng" dirty="0">
                <a:solidFill>
                  <a:srgbClr val="19324C"/>
                </a:solidFill>
                <a:latin typeface="+mn-ea"/>
                <a:ea typeface="+mn-ea"/>
              </a:rPr>
              <a:t>根据医院的年西药收入</a:t>
            </a:r>
            <a:endParaRPr lang="en-US" altLang="zh-CN" sz="1050" b="0" i="1" u="sng" dirty="0">
              <a:solidFill>
                <a:srgbClr val="19324C"/>
              </a:solidFill>
              <a:latin typeface="+mn-ea"/>
              <a:ea typeface="+mn-ea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230461" y="1619274"/>
            <a:ext cx="1030458" cy="257288"/>
          </a:xfrm>
          <a:prstGeom prst="rect">
            <a:avLst/>
          </a:prstGeom>
          <a:solidFill>
            <a:srgbClr val="85540A"/>
          </a:solidFill>
        </p:spPr>
        <p:txBody>
          <a:bodyPr wrap="square" tIns="51200" bIns="51200" rtlCol="0" anchor="ctr">
            <a:spAutoFit/>
          </a:bodyPr>
          <a:lstStyle/>
          <a:p>
            <a:pPr algn="ctr"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000" dirty="0">
                <a:solidFill>
                  <a:srgbClr val="FFFFFF"/>
                </a:solidFill>
                <a:latin typeface="+mn-ea"/>
                <a:ea typeface="+mn-ea"/>
                <a:cs typeface="+mn-cs"/>
              </a:rPr>
              <a:t>最高</a:t>
            </a:r>
            <a:r>
              <a:rPr lang="en-US" altLang="zh-CN" sz="1000" dirty="0">
                <a:solidFill>
                  <a:srgbClr val="FFFFFF"/>
                </a:solidFill>
                <a:latin typeface="+mn-ea"/>
                <a:ea typeface="+mn-ea"/>
                <a:cs typeface="+mn-cs"/>
              </a:rPr>
              <a:t>20%</a:t>
            </a:r>
            <a:endParaRPr lang="zh-CN" altLang="en-US" sz="1000" dirty="0">
              <a:solidFill>
                <a:srgbClr val="FFFFFF"/>
              </a:solidFill>
              <a:latin typeface="+mn-ea"/>
              <a:ea typeface="+mn-ea"/>
              <a:cs typeface="+mn-cs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230461" y="2190925"/>
            <a:ext cx="1030458" cy="257288"/>
          </a:xfrm>
          <a:prstGeom prst="rect">
            <a:avLst/>
          </a:prstGeom>
          <a:solidFill>
            <a:srgbClr val="C87D0E"/>
          </a:solidFill>
        </p:spPr>
        <p:txBody>
          <a:bodyPr wrap="square" tIns="51200" bIns="51200" rtlCol="0" anchor="ctr">
            <a:spAutoFit/>
          </a:bodyPr>
          <a:lstStyle/>
          <a:p>
            <a:pPr algn="ctr"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000" dirty="0">
                <a:solidFill>
                  <a:srgbClr val="FFFFFF"/>
                </a:solidFill>
                <a:latin typeface="+mn-ea"/>
                <a:ea typeface="+mn-ea"/>
                <a:cs typeface="+mn-cs"/>
              </a:rPr>
              <a:t>最高</a:t>
            </a:r>
            <a:r>
              <a:rPr lang="en-US" altLang="zh-CN" sz="1000" dirty="0">
                <a:solidFill>
                  <a:srgbClr val="FFFFFF"/>
                </a:solidFill>
                <a:latin typeface="+mn-ea"/>
                <a:ea typeface="+mn-ea"/>
                <a:cs typeface="+mn-cs"/>
              </a:rPr>
              <a:t> 20% -40%</a:t>
            </a:r>
            <a:endParaRPr lang="zh-CN" altLang="en-US" sz="1000" dirty="0">
              <a:solidFill>
                <a:srgbClr val="FFFFFF"/>
              </a:solidFill>
              <a:latin typeface="+mn-ea"/>
              <a:ea typeface="+mn-ea"/>
              <a:cs typeface="+mn-cs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230461" y="2821495"/>
            <a:ext cx="1030458" cy="257288"/>
          </a:xfrm>
          <a:prstGeom prst="rect">
            <a:avLst/>
          </a:prstGeom>
          <a:solidFill>
            <a:srgbClr val="F3B457"/>
          </a:solidFill>
        </p:spPr>
        <p:txBody>
          <a:bodyPr wrap="square" tIns="51200" bIns="51200" rtlCol="0" anchor="ctr">
            <a:spAutoFit/>
          </a:bodyPr>
          <a:lstStyle/>
          <a:p>
            <a:pPr algn="ctr"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000" dirty="0">
                <a:solidFill>
                  <a:srgbClr val="FFFFFF"/>
                </a:solidFill>
                <a:latin typeface="+mn-ea"/>
                <a:ea typeface="+mn-ea"/>
                <a:cs typeface="+mn-cs"/>
              </a:rPr>
              <a:t>最高</a:t>
            </a:r>
            <a:r>
              <a:rPr lang="en-US" altLang="zh-CN" sz="1000" dirty="0">
                <a:solidFill>
                  <a:srgbClr val="FFFFFF"/>
                </a:solidFill>
                <a:latin typeface="+mn-ea"/>
                <a:ea typeface="+mn-ea"/>
                <a:cs typeface="+mn-cs"/>
              </a:rPr>
              <a:t>40% -60%</a:t>
            </a:r>
            <a:endParaRPr lang="zh-CN" altLang="en-US" sz="1000" dirty="0">
              <a:solidFill>
                <a:srgbClr val="FFFFFF"/>
              </a:solidFill>
              <a:latin typeface="+mn-ea"/>
              <a:ea typeface="+mn-ea"/>
              <a:cs typeface="+mn-cs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230461" y="3411666"/>
            <a:ext cx="1030458" cy="257288"/>
          </a:xfrm>
          <a:prstGeom prst="rect">
            <a:avLst/>
          </a:prstGeom>
          <a:solidFill>
            <a:srgbClr val="F9DAAB"/>
          </a:solidFill>
        </p:spPr>
        <p:txBody>
          <a:bodyPr wrap="square" tIns="51200" bIns="51200" rtlCol="0" anchor="ctr">
            <a:spAutoFit/>
          </a:bodyPr>
          <a:lstStyle/>
          <a:p>
            <a:pPr algn="ctr"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000" dirty="0">
                <a:solidFill>
                  <a:schemeClr val="tx1"/>
                </a:solidFill>
                <a:latin typeface="+mn-ea"/>
                <a:ea typeface="+mn-ea"/>
                <a:cs typeface="+mn-cs"/>
              </a:rPr>
              <a:t>最高</a:t>
            </a:r>
            <a:r>
              <a:rPr lang="en-US" altLang="zh-CN" sz="1000" dirty="0">
                <a:solidFill>
                  <a:schemeClr val="tx1"/>
                </a:solidFill>
                <a:latin typeface="+mn-ea"/>
                <a:ea typeface="+mn-ea"/>
                <a:cs typeface="+mn-cs"/>
              </a:rPr>
              <a:t>60% -80%</a:t>
            </a:r>
            <a:endParaRPr lang="zh-CN" altLang="en-US" sz="1000" dirty="0">
              <a:solidFill>
                <a:schemeClr val="tx1"/>
              </a:solidFill>
              <a:latin typeface="+mn-ea"/>
              <a:ea typeface="+mn-ea"/>
              <a:cs typeface="+mn-cs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230461" y="4033452"/>
            <a:ext cx="1030458" cy="257288"/>
          </a:xfrm>
          <a:prstGeom prst="rect">
            <a:avLst/>
          </a:prstGeom>
          <a:solidFill>
            <a:srgbClr val="FCECD5"/>
          </a:solidFill>
        </p:spPr>
        <p:txBody>
          <a:bodyPr wrap="square" tIns="51200" bIns="51200" rtlCol="0" anchor="ctr">
            <a:spAutoFit/>
          </a:bodyPr>
          <a:lstStyle/>
          <a:p>
            <a:pPr algn="ctr"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000" dirty="0">
                <a:solidFill>
                  <a:schemeClr val="tx1"/>
                </a:solidFill>
                <a:latin typeface="+mn-ea"/>
                <a:ea typeface="+mn-ea"/>
                <a:cs typeface="+mn-cs"/>
              </a:rPr>
              <a:t>最低</a:t>
            </a:r>
            <a:r>
              <a:rPr lang="en-US" altLang="zh-CN" sz="1000" dirty="0">
                <a:solidFill>
                  <a:schemeClr val="tx1"/>
                </a:solidFill>
                <a:latin typeface="+mn-ea"/>
                <a:ea typeface="+mn-ea"/>
                <a:cs typeface="+mn-cs"/>
              </a:rPr>
              <a:t> 20%</a:t>
            </a:r>
            <a:endParaRPr lang="zh-CN" altLang="en-US" sz="1000" dirty="0">
              <a:solidFill>
                <a:schemeClr val="tx1"/>
              </a:solidFill>
              <a:latin typeface="+mn-ea"/>
              <a:ea typeface="+mn-ea"/>
              <a:cs typeface="+mn-cs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666444" y="1249849"/>
            <a:ext cx="2060913" cy="257288"/>
          </a:xfrm>
          <a:prstGeom prst="rect">
            <a:avLst/>
          </a:prstGeom>
          <a:noFill/>
          <a:ln>
            <a:noFill/>
          </a:ln>
        </p:spPr>
        <p:txBody>
          <a:bodyPr wrap="square" tIns="51200" bIns="51200" rtlCol="0" anchor="ctr">
            <a:spAutoFit/>
          </a:bodyPr>
          <a:lstStyle/>
          <a:p>
            <a:pPr algn="ctr"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000" b="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  <a:cs typeface="+mn-cs"/>
              </a:rPr>
              <a:t>西药收入集中度</a:t>
            </a:r>
            <a:r>
              <a:rPr lang="en-US" altLang="zh-CN" sz="1000" b="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  <a:cs typeface="+mn-cs"/>
              </a:rPr>
              <a:t>%</a:t>
            </a:r>
            <a:endParaRPr lang="zh-CN" altLang="en-US" sz="1000" b="0" kern="1200" dirty="0">
              <a:solidFill>
                <a:schemeClr val="tx1">
                  <a:lumMod val="65000"/>
                  <a:lumOff val="35000"/>
                </a:schemeClr>
              </a:solidFill>
              <a:latin typeface="+mn-ea"/>
              <a:ea typeface="+mn-ea"/>
              <a:cs typeface="+mn-cs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556580" y="1248788"/>
            <a:ext cx="679162" cy="257288"/>
          </a:xfrm>
          <a:prstGeom prst="rect">
            <a:avLst/>
          </a:prstGeom>
          <a:noFill/>
          <a:ln>
            <a:noFill/>
          </a:ln>
        </p:spPr>
        <p:txBody>
          <a:bodyPr wrap="square" tIns="51200" bIns="51200" rtlCol="0" anchor="ctr">
            <a:spAutoFit/>
          </a:bodyPr>
          <a:lstStyle/>
          <a:p>
            <a:pPr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000" b="0" kern="1200" dirty="0">
                <a:latin typeface="+mn-ea"/>
                <a:ea typeface="+mn-ea"/>
                <a:cs typeface="+mn-cs"/>
              </a:rPr>
              <a:t>城市数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5486400" y="1595485"/>
            <a:ext cx="679162" cy="257288"/>
          </a:xfrm>
          <a:prstGeom prst="rect">
            <a:avLst/>
          </a:prstGeom>
          <a:noFill/>
          <a:ln>
            <a:noFill/>
          </a:ln>
        </p:spPr>
        <p:txBody>
          <a:bodyPr wrap="square" tIns="51200" bIns="51200" rtlCol="0" anchor="ctr">
            <a:spAutoFit/>
          </a:bodyPr>
          <a:lstStyle/>
          <a:p>
            <a:pPr algn="ctr"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000" kern="1200" dirty="0">
                <a:latin typeface="+mn-ea"/>
                <a:ea typeface="+mn-ea"/>
                <a:cs typeface="+mn-cs"/>
              </a:rPr>
              <a:t>5</a:t>
            </a:r>
            <a:endParaRPr lang="zh-CN" altLang="en-US" sz="1000" kern="1200" dirty="0">
              <a:latin typeface="+mn-ea"/>
              <a:ea typeface="+mn-ea"/>
              <a:cs typeface="+mn-cs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486400" y="2226054"/>
            <a:ext cx="679162" cy="257288"/>
          </a:xfrm>
          <a:prstGeom prst="rect">
            <a:avLst/>
          </a:prstGeom>
          <a:noFill/>
          <a:ln>
            <a:noFill/>
          </a:ln>
        </p:spPr>
        <p:txBody>
          <a:bodyPr wrap="square" tIns="51200" bIns="51200" rtlCol="0" anchor="ctr">
            <a:spAutoFit/>
          </a:bodyPr>
          <a:lstStyle/>
          <a:p>
            <a:pPr algn="ctr"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000" kern="1200" dirty="0">
                <a:latin typeface="+mn-ea"/>
                <a:ea typeface="+mn-ea"/>
                <a:cs typeface="+mn-cs"/>
              </a:rPr>
              <a:t>10</a:t>
            </a:r>
            <a:endParaRPr lang="zh-CN" altLang="en-US" sz="1000" kern="1200" dirty="0">
              <a:latin typeface="+mn-ea"/>
              <a:ea typeface="+mn-ea"/>
              <a:cs typeface="+mn-cs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5486400" y="2816224"/>
            <a:ext cx="679162" cy="257288"/>
          </a:xfrm>
          <a:prstGeom prst="rect">
            <a:avLst/>
          </a:prstGeom>
          <a:noFill/>
          <a:ln>
            <a:noFill/>
          </a:ln>
        </p:spPr>
        <p:txBody>
          <a:bodyPr wrap="square" tIns="51200" bIns="51200" rtlCol="0" anchor="ctr">
            <a:spAutoFit/>
          </a:bodyPr>
          <a:lstStyle/>
          <a:p>
            <a:pPr algn="ctr"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000" kern="1200" dirty="0">
                <a:latin typeface="+mn-ea"/>
                <a:ea typeface="+mn-ea"/>
                <a:cs typeface="+mn-cs"/>
              </a:rPr>
              <a:t>27</a:t>
            </a:r>
            <a:endParaRPr lang="zh-CN" altLang="en-US" sz="1000" kern="1200" dirty="0">
              <a:latin typeface="+mn-ea"/>
              <a:ea typeface="+mn-ea"/>
              <a:cs typeface="+mn-cs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486400" y="3385316"/>
            <a:ext cx="679162" cy="257288"/>
          </a:xfrm>
          <a:prstGeom prst="rect">
            <a:avLst/>
          </a:prstGeom>
          <a:noFill/>
          <a:ln>
            <a:noFill/>
          </a:ln>
        </p:spPr>
        <p:txBody>
          <a:bodyPr wrap="square" tIns="51200" bIns="51200" rtlCol="0" anchor="ctr">
            <a:spAutoFit/>
          </a:bodyPr>
          <a:lstStyle/>
          <a:p>
            <a:pPr algn="ctr"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000" kern="1200" dirty="0">
                <a:latin typeface="+mn-ea"/>
                <a:ea typeface="+mn-ea"/>
                <a:cs typeface="+mn-cs"/>
              </a:rPr>
              <a:t>74</a:t>
            </a:r>
            <a:endParaRPr lang="zh-CN" altLang="en-US" sz="1000" kern="1200" dirty="0">
              <a:latin typeface="+mn-ea"/>
              <a:ea typeface="+mn-ea"/>
              <a:cs typeface="+mn-cs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5486400" y="4028183"/>
            <a:ext cx="679162" cy="257288"/>
          </a:xfrm>
          <a:prstGeom prst="rect">
            <a:avLst/>
          </a:prstGeom>
          <a:noFill/>
          <a:ln>
            <a:noFill/>
          </a:ln>
        </p:spPr>
        <p:txBody>
          <a:bodyPr wrap="square" tIns="51200" bIns="51200" rtlCol="0" anchor="ctr">
            <a:spAutoFit/>
          </a:bodyPr>
          <a:lstStyle/>
          <a:p>
            <a:pPr algn="ctr"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000" kern="1200" dirty="0">
                <a:latin typeface="+mn-ea"/>
                <a:ea typeface="+mn-ea"/>
                <a:cs typeface="+mn-cs"/>
              </a:rPr>
              <a:t>222</a:t>
            </a:r>
            <a:endParaRPr lang="zh-CN" altLang="en-US" sz="1000" kern="1200" dirty="0">
              <a:latin typeface="+mn-ea"/>
              <a:ea typeface="+mn-ea"/>
              <a:cs typeface="+mn-cs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6500190" y="1247327"/>
            <a:ext cx="809933" cy="257288"/>
          </a:xfrm>
          <a:prstGeom prst="rect">
            <a:avLst/>
          </a:prstGeom>
          <a:noFill/>
          <a:ln>
            <a:noFill/>
          </a:ln>
        </p:spPr>
        <p:txBody>
          <a:bodyPr wrap="square" tIns="51200" bIns="51200" rtlCol="0" anchor="ctr">
            <a:spAutoFit/>
          </a:bodyPr>
          <a:lstStyle/>
          <a:p>
            <a:pPr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000" b="0" kern="1200" dirty="0">
                <a:latin typeface="+mn-ea"/>
                <a:ea typeface="+mn-ea"/>
                <a:cs typeface="+mn-cs"/>
              </a:rPr>
              <a:t>举例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6141792" y="1595139"/>
            <a:ext cx="1622695" cy="241899"/>
          </a:xfrm>
          <a:prstGeom prst="rect">
            <a:avLst/>
          </a:prstGeom>
          <a:noFill/>
          <a:ln>
            <a:noFill/>
          </a:ln>
        </p:spPr>
        <p:txBody>
          <a:bodyPr wrap="square" tIns="51200" bIns="51200" rtlCol="0" anchor="ctr">
            <a:spAutoFit/>
          </a:bodyPr>
          <a:lstStyle/>
          <a:p>
            <a:pPr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北京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上海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广州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杭州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天津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6131324" y="2153959"/>
            <a:ext cx="1869675" cy="380399"/>
          </a:xfrm>
          <a:prstGeom prst="rect">
            <a:avLst/>
          </a:prstGeom>
          <a:noFill/>
          <a:ln>
            <a:noFill/>
          </a:ln>
        </p:spPr>
        <p:txBody>
          <a:bodyPr wrap="square" tIns="51200" bIns="51200" rtlCol="0" anchor="ctr">
            <a:spAutoFit/>
          </a:bodyPr>
          <a:lstStyle/>
          <a:p>
            <a:pPr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成都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 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福州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 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济南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南京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深圳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</a:t>
            </a:r>
          </a:p>
          <a:p>
            <a:pPr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沈阳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武汉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…</a:t>
            </a:r>
            <a:endParaRPr lang="zh-CN" altLang="en-US" sz="900" b="0" kern="1200" dirty="0">
              <a:latin typeface="+mn-ea"/>
              <a:ea typeface="+mn-ea"/>
              <a:cs typeface="+mn-cs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6131325" y="2763452"/>
            <a:ext cx="1869675" cy="380399"/>
          </a:xfrm>
          <a:prstGeom prst="rect">
            <a:avLst/>
          </a:prstGeom>
          <a:noFill/>
          <a:ln>
            <a:noFill/>
          </a:ln>
        </p:spPr>
        <p:txBody>
          <a:bodyPr wrap="square" tIns="51200" bIns="51200" rtlCol="0" anchor="ctr">
            <a:spAutoFit/>
          </a:bodyPr>
          <a:lstStyle/>
          <a:p>
            <a:pPr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长春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长沙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 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常州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大连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东莞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佛山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 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昆明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苏州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青岛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…..</a:t>
            </a:r>
            <a:endParaRPr lang="zh-CN" altLang="en-US" sz="900" b="0" kern="1200" dirty="0">
              <a:latin typeface="+mn-ea"/>
              <a:ea typeface="+mn-ea"/>
              <a:cs typeface="+mn-cs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6131325" y="3282617"/>
            <a:ext cx="1869675" cy="518898"/>
          </a:xfrm>
          <a:prstGeom prst="rect">
            <a:avLst/>
          </a:prstGeom>
          <a:noFill/>
          <a:ln>
            <a:noFill/>
          </a:ln>
        </p:spPr>
        <p:txBody>
          <a:bodyPr wrap="square" tIns="51200" bIns="51200" rtlCol="0" anchor="ctr">
            <a:spAutoFit/>
          </a:bodyPr>
          <a:lstStyle/>
          <a:p>
            <a:pPr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保定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 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桂林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 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贵阳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 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吉林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 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兰州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洛阳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泉州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 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绍兴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 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银川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 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遵义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, </a:t>
            </a:r>
            <a:r>
              <a:rPr lang="zh-CN" altLang="en-US" sz="900" b="0" kern="1200" dirty="0">
                <a:latin typeface="+mn-ea"/>
                <a:ea typeface="+mn-ea"/>
                <a:cs typeface="+mn-cs"/>
              </a:rPr>
              <a:t>淄博</a:t>
            </a:r>
            <a:r>
              <a:rPr lang="en-US" altLang="zh-CN" sz="900" b="0" kern="1200" dirty="0">
                <a:latin typeface="+mn-ea"/>
                <a:ea typeface="+mn-ea"/>
                <a:cs typeface="+mn-cs"/>
              </a:rPr>
              <a:t>…</a:t>
            </a:r>
            <a:endParaRPr lang="zh-CN" altLang="en-US" sz="900" b="0" kern="1200" dirty="0">
              <a:latin typeface="+mn-ea"/>
              <a:ea typeface="+mn-ea"/>
              <a:cs typeface="+mn-cs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6131325" y="3871030"/>
            <a:ext cx="1869675" cy="518898"/>
          </a:xfrm>
          <a:prstGeom prst="rect">
            <a:avLst/>
          </a:prstGeom>
          <a:noFill/>
          <a:ln>
            <a:noFill/>
          </a:ln>
        </p:spPr>
        <p:txBody>
          <a:bodyPr wrap="square" tIns="51200" bIns="51200" rtlCol="0" anchor="ctr">
            <a:spAutoFit/>
          </a:bodyPr>
          <a:lstStyle/>
          <a:p>
            <a:pPr defTabSz="130046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900" b="0" kern="1200" dirty="0">
                <a:latin typeface="+mj-ea"/>
                <a:ea typeface="+mj-ea"/>
                <a:cs typeface="+mn-cs"/>
              </a:rPr>
              <a:t>鞍山</a:t>
            </a:r>
            <a:r>
              <a:rPr lang="en-US" altLang="zh-CN" sz="900" b="0" kern="1200" dirty="0">
                <a:latin typeface="+mj-ea"/>
                <a:ea typeface="+mj-ea"/>
                <a:cs typeface="+mn-cs"/>
              </a:rPr>
              <a:t>, </a:t>
            </a:r>
            <a:r>
              <a:rPr lang="zh-CN" altLang="en-US" sz="900" b="0" kern="1200" dirty="0">
                <a:latin typeface="+mj-ea"/>
                <a:ea typeface="+mj-ea"/>
                <a:cs typeface="+mn-cs"/>
              </a:rPr>
              <a:t>本溪</a:t>
            </a:r>
            <a:r>
              <a:rPr lang="en-US" altLang="zh-CN" sz="900" b="0" kern="1200" dirty="0">
                <a:latin typeface="+mj-ea"/>
                <a:ea typeface="+mj-ea"/>
                <a:cs typeface="+mn-cs"/>
              </a:rPr>
              <a:t> </a:t>
            </a:r>
            <a:r>
              <a:rPr lang="zh-CN" altLang="en-US" sz="900" b="0" kern="1200" dirty="0">
                <a:latin typeface="+mj-ea"/>
                <a:ea typeface="+mj-ea"/>
                <a:cs typeface="+mn-cs"/>
              </a:rPr>
              <a:t>大庆</a:t>
            </a:r>
            <a:r>
              <a:rPr lang="en-US" altLang="zh-CN" sz="900" b="0" kern="1200" dirty="0">
                <a:latin typeface="+mj-ea"/>
                <a:ea typeface="+mj-ea"/>
                <a:cs typeface="+mn-cs"/>
              </a:rPr>
              <a:t>, </a:t>
            </a:r>
            <a:r>
              <a:rPr lang="zh-CN" altLang="en-US" sz="900" b="0" kern="1200" dirty="0">
                <a:latin typeface="+mj-ea"/>
                <a:ea typeface="+mj-ea"/>
                <a:cs typeface="+mn-cs"/>
              </a:rPr>
              <a:t>黄冈</a:t>
            </a:r>
            <a:r>
              <a:rPr lang="en-US" altLang="zh-CN" sz="900" b="0" kern="1200" dirty="0">
                <a:latin typeface="+mj-ea"/>
                <a:ea typeface="+mj-ea"/>
                <a:cs typeface="+mn-cs"/>
              </a:rPr>
              <a:t>, </a:t>
            </a:r>
            <a:r>
              <a:rPr lang="zh-CN" altLang="en-US" sz="900" b="0" kern="1200" dirty="0">
                <a:latin typeface="+mj-ea"/>
                <a:ea typeface="+mj-ea"/>
                <a:cs typeface="+mn-cs"/>
              </a:rPr>
              <a:t>荆门</a:t>
            </a:r>
            <a:r>
              <a:rPr lang="en-US" altLang="zh-CN" sz="900" b="0" kern="1200" dirty="0">
                <a:latin typeface="+mj-ea"/>
                <a:ea typeface="+mj-ea"/>
                <a:cs typeface="+mn-cs"/>
              </a:rPr>
              <a:t> , </a:t>
            </a:r>
            <a:r>
              <a:rPr lang="zh-CN" altLang="en-US" sz="900" b="0" kern="1200" dirty="0">
                <a:latin typeface="+mj-ea"/>
                <a:ea typeface="+mj-ea"/>
                <a:cs typeface="+mn-cs"/>
              </a:rPr>
              <a:t>三亚</a:t>
            </a:r>
            <a:r>
              <a:rPr lang="en-US" altLang="zh-CN" sz="900" b="0" kern="1200" dirty="0">
                <a:latin typeface="+mj-ea"/>
                <a:ea typeface="+mj-ea"/>
                <a:cs typeface="+mn-cs"/>
              </a:rPr>
              <a:t> , </a:t>
            </a:r>
            <a:r>
              <a:rPr lang="zh-CN" altLang="en-US" sz="900" b="0" kern="1200" dirty="0">
                <a:latin typeface="+mj-ea"/>
                <a:ea typeface="+mj-ea"/>
                <a:cs typeface="+mn-cs"/>
              </a:rPr>
              <a:t>苏州</a:t>
            </a:r>
            <a:r>
              <a:rPr lang="en-US" altLang="zh-CN" sz="900" b="0" kern="1200" dirty="0">
                <a:latin typeface="+mj-ea"/>
                <a:ea typeface="+mj-ea"/>
                <a:cs typeface="+mn-cs"/>
              </a:rPr>
              <a:t>, </a:t>
            </a:r>
            <a:r>
              <a:rPr lang="zh-CN" altLang="en-US" sz="900" b="0" kern="1200" dirty="0">
                <a:latin typeface="+mj-ea"/>
                <a:ea typeface="+mj-ea"/>
                <a:cs typeface="+mn-cs"/>
              </a:rPr>
              <a:t>通辽</a:t>
            </a:r>
            <a:r>
              <a:rPr lang="en-US" altLang="zh-CN" sz="900" b="0" kern="1200" dirty="0">
                <a:latin typeface="+mj-ea"/>
                <a:ea typeface="+mj-ea"/>
                <a:cs typeface="+mn-cs"/>
              </a:rPr>
              <a:t> , </a:t>
            </a:r>
            <a:r>
              <a:rPr lang="zh-CN" altLang="en-US" sz="900" b="0" kern="1200" dirty="0">
                <a:latin typeface="+mj-ea"/>
                <a:ea typeface="+mj-ea"/>
                <a:cs typeface="+mn-cs"/>
              </a:rPr>
              <a:t>阳泉</a:t>
            </a:r>
            <a:r>
              <a:rPr lang="en-US" altLang="zh-CN" sz="900" b="0" kern="1200" dirty="0">
                <a:latin typeface="+mj-ea"/>
                <a:ea typeface="+mj-ea"/>
                <a:cs typeface="+mn-cs"/>
              </a:rPr>
              <a:t>, </a:t>
            </a:r>
            <a:r>
              <a:rPr lang="zh-CN" altLang="en-US" sz="900" b="0" kern="1200" dirty="0">
                <a:latin typeface="+mj-ea"/>
                <a:ea typeface="+mj-ea"/>
                <a:cs typeface="+mn-cs"/>
              </a:rPr>
              <a:t>枣庄</a:t>
            </a:r>
            <a:r>
              <a:rPr lang="en-US" altLang="zh-CN" sz="900" b="0" kern="1200" dirty="0">
                <a:latin typeface="+mj-ea"/>
                <a:ea typeface="+mj-ea"/>
                <a:cs typeface="+mn-cs"/>
              </a:rPr>
              <a:t>, </a:t>
            </a:r>
            <a:r>
              <a:rPr lang="zh-CN" altLang="en-US" sz="900" b="0" kern="1200" dirty="0">
                <a:latin typeface="+mj-ea"/>
                <a:ea typeface="+mj-ea"/>
                <a:cs typeface="+mn-cs"/>
              </a:rPr>
              <a:t>运城</a:t>
            </a:r>
            <a:r>
              <a:rPr lang="en-US" altLang="zh-CN" sz="900" b="0" kern="1200" dirty="0">
                <a:latin typeface="+mj-ea"/>
                <a:ea typeface="+mj-ea"/>
                <a:cs typeface="+mn-cs"/>
              </a:rPr>
              <a:t>….</a:t>
            </a:r>
            <a:endParaRPr lang="zh-CN" altLang="en-US" sz="900" b="0" kern="1200" dirty="0">
              <a:latin typeface="+mj-ea"/>
              <a:ea typeface="+mj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18801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6EDDD48F-F40A-4490-8AE2-7D551F17D4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5968436"/>
              </p:ext>
            </p:extLst>
          </p:nvPr>
        </p:nvGraphicFramePr>
        <p:xfrm>
          <a:off x="1143844" y="844"/>
          <a:ext cx="838" cy="8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539" name="think-cell 幻灯片" r:id="rId6" imgW="421" imgH="423" progId="TCLayout.ActiveDocument.1">
                  <p:embed/>
                </p:oleObj>
              </mc:Choice>
              <mc:Fallback>
                <p:oleObj name="think-cell 幻灯片" r:id="rId6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3844" y="844"/>
                        <a:ext cx="838" cy="8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 bwMode="auto">
          <a:xfrm>
            <a:off x="1088077" y="-90510"/>
            <a:ext cx="228909" cy="300083"/>
          </a:xfrm>
          <a:prstGeom prst="rect">
            <a:avLst/>
          </a:prstGeom>
          <a:solidFill>
            <a:srgbClr val="C00000"/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accent2"/>
              </a:buClr>
            </a:pPr>
            <a:endParaRPr lang="en-US" altLang="zh-CN" sz="700" b="1" dirty="0"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" name="标题 1">
            <a:extLst>
              <a:ext uri="{FF2B5EF4-FFF2-40B4-BE49-F238E27FC236}">
                <a16:creationId xmlns:a16="http://schemas.microsoft.com/office/drawing/2014/main" id="{0981E5EC-501B-4973-96AA-40EF6FE3C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0" y="114309"/>
            <a:ext cx="6743700" cy="594121"/>
          </a:xfrm>
          <a:ln w="12700">
            <a:miter lim="400000"/>
          </a:ln>
        </p:spPr>
        <p:txBody>
          <a:bodyPr vert="horz" lIns="26789" tIns="26789" rIns="26789" bIns="26789" rtlCol="0" anchor="b">
            <a:normAutofit/>
          </a:bodyPr>
          <a:lstStyle/>
          <a:p>
            <a:r>
              <a:rPr lang="en-US" altLang="zh-CN" sz="1800" dirty="0"/>
              <a:t>Market volume size</a:t>
            </a:r>
            <a:endParaRPr lang="zh-CN" altLang="en-US" sz="1800" dirty="0">
              <a:sym typeface="Helvetica Neue" charset="0"/>
            </a:endParaRP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6CB4B4D-7CA3-9044-876B-883B54F8677D}" type="slidenum">
              <a:rPr lang="en-US" altLang="zh-CN" smtClean="0"/>
              <a:t>3</a:t>
            </a:fld>
            <a:endParaRPr lang="en-US" altLang="zh-CN" dirty="0"/>
          </a:p>
        </p:txBody>
      </p:sp>
      <p:sp>
        <p:nvSpPr>
          <p:cNvPr id="198" name="文本框 22">
            <a:extLst>
              <a:ext uri="{FF2B5EF4-FFF2-40B4-BE49-F238E27FC236}">
                <a16:creationId xmlns:a16="http://schemas.microsoft.com/office/drawing/2014/main" id="{E2110750-D53E-4A36-8247-B15C9AA93045}"/>
              </a:ext>
            </a:extLst>
          </p:cNvPr>
          <p:cNvSpPr txBox="1"/>
          <p:nvPr/>
        </p:nvSpPr>
        <p:spPr>
          <a:xfrm>
            <a:off x="1017588" y="895350"/>
            <a:ext cx="27924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100" b="1" u="sng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rket volume size by MAT</a:t>
            </a:r>
            <a:endParaRPr lang="zh-CN" altLang="en-US" sz="1100" b="1" u="sng" dirty="0">
              <a:solidFill>
                <a:schemeClr val="accent1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7" name="文本框 22">
            <a:extLst>
              <a:ext uri="{FF2B5EF4-FFF2-40B4-BE49-F238E27FC236}">
                <a16:creationId xmlns:a16="http://schemas.microsoft.com/office/drawing/2014/main" id="{E2110750-D53E-4A36-8247-B15C9AA93045}"/>
              </a:ext>
            </a:extLst>
          </p:cNvPr>
          <p:cNvSpPr txBox="1"/>
          <p:nvPr/>
        </p:nvSpPr>
        <p:spPr>
          <a:xfrm>
            <a:off x="5513388" y="899528"/>
            <a:ext cx="27924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100" b="1" u="sng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rket volume size by YTD</a:t>
            </a:r>
            <a:endParaRPr lang="zh-CN" altLang="en-US" sz="1100" b="1" u="sng" dirty="0">
              <a:solidFill>
                <a:schemeClr val="accent1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08" name="直接连接符 107">
            <a:extLst>
              <a:ext uri="{FF2B5EF4-FFF2-40B4-BE49-F238E27FC236}">
                <a16:creationId xmlns:a16="http://schemas.microsoft.com/office/drawing/2014/main" id="{830CBA6F-E043-4993-A195-5F2D668B226E}"/>
              </a:ext>
            </a:extLst>
          </p:cNvPr>
          <p:cNvCxnSpPr/>
          <p:nvPr/>
        </p:nvCxnSpPr>
        <p:spPr>
          <a:xfrm>
            <a:off x="4563708" y="971550"/>
            <a:ext cx="0" cy="378295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2" name="图表 111"/>
          <p:cNvGraphicFramePr/>
          <p:nvPr>
            <p:extLst>
              <p:ext uri="{D42A27DB-BD31-4B8C-83A1-F6EECF244321}">
                <p14:modId xmlns:p14="http://schemas.microsoft.com/office/powerpoint/2010/main" val="3043552759"/>
              </p:ext>
            </p:extLst>
          </p:nvPr>
        </p:nvGraphicFramePr>
        <p:xfrm>
          <a:off x="76200" y="1323058"/>
          <a:ext cx="4239984" cy="3257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13" name="图表 112"/>
          <p:cNvGraphicFramePr/>
          <p:nvPr>
            <p:extLst>
              <p:ext uri="{D42A27DB-BD31-4B8C-83A1-F6EECF244321}">
                <p14:modId xmlns:p14="http://schemas.microsoft.com/office/powerpoint/2010/main" val="402301474"/>
              </p:ext>
            </p:extLst>
          </p:nvPr>
        </p:nvGraphicFramePr>
        <p:xfrm>
          <a:off x="4565546" y="1323058"/>
          <a:ext cx="4239984" cy="3257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329655332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对象 3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33705966"/>
              </p:ext>
            </p:extLst>
          </p:nvPr>
        </p:nvGraphicFramePr>
        <p:xfrm>
          <a:off x="4387850" y="1352550"/>
          <a:ext cx="3689350" cy="25130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711" name="工作表" r:id="rId5" imgW="3933720" imgH="2676418" progId="Excel.Sheet.12">
                  <p:embed/>
                </p:oleObj>
              </mc:Choice>
              <mc:Fallback>
                <p:oleObj name="工作表" r:id="rId5" imgW="3933720" imgH="2676418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4387850" y="1352550"/>
                        <a:ext cx="3689350" cy="25130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43794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712" name="think-cell 幻灯片" r:id="rId7" imgW="270" imgH="270" progId="TCLayout.ActiveDocument.1">
                  <p:embed/>
                </p:oleObj>
              </mc:Choice>
              <mc:Fallback>
                <p:oleObj name="think-cell 幻灯片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altLang="zh-CN" sz="7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arket size by city tier _ MAT _ value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30</a:t>
            </a:fld>
            <a:endParaRPr lang="en-US" dirty="0">
              <a:ea typeface="+mn-ea"/>
            </a:endParaRPr>
          </a:p>
        </p:txBody>
      </p:sp>
      <p:graphicFrame>
        <p:nvGraphicFramePr>
          <p:cNvPr id="36" name="图表 35">
            <a:extLst>
              <a:ext uri="{FF2B5EF4-FFF2-40B4-BE49-F238E27FC236}">
                <a16:creationId xmlns:a16="http://schemas.microsoft.com/office/drawing/2014/main" id="{3F25DE1B-2F56-4404-8EB4-F4801A0EF74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14597156"/>
              </p:ext>
            </p:extLst>
          </p:nvPr>
        </p:nvGraphicFramePr>
        <p:xfrm>
          <a:off x="647700" y="1200150"/>
          <a:ext cx="4730750" cy="31927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152166608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87329254"/>
              </p:ext>
            </p:extLst>
          </p:nvPr>
        </p:nvGraphicFramePr>
        <p:xfrm>
          <a:off x="4387850" y="1352550"/>
          <a:ext cx="3689350" cy="25130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734" name="工作表" r:id="rId5" imgW="3933720" imgH="2676418" progId="Excel.Sheet.12">
                  <p:embed/>
                </p:oleObj>
              </mc:Choice>
              <mc:Fallback>
                <p:oleObj name="工作表" r:id="rId5" imgW="3933720" imgH="2676418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4387850" y="1352550"/>
                        <a:ext cx="3689350" cy="25130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43794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735" name="think-cell 幻灯片" r:id="rId7" imgW="270" imgH="270" progId="TCLayout.ActiveDocument.1">
                  <p:embed/>
                </p:oleObj>
              </mc:Choice>
              <mc:Fallback>
                <p:oleObj name="think-cell 幻灯片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altLang="zh-CN" sz="7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arket size by city tier _ MAT _ volume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31</a:t>
            </a:fld>
            <a:endParaRPr lang="en-US" dirty="0">
              <a:ea typeface="+mn-ea"/>
            </a:endParaRPr>
          </a:p>
        </p:txBody>
      </p:sp>
      <p:graphicFrame>
        <p:nvGraphicFramePr>
          <p:cNvPr id="9" name="图表 8">
            <a:extLst>
              <a:ext uri="{FF2B5EF4-FFF2-40B4-BE49-F238E27FC236}">
                <a16:creationId xmlns:a16="http://schemas.microsoft.com/office/drawing/2014/main" id="{3F25DE1B-2F56-4404-8EB4-F4801A0EF74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11626382"/>
              </p:ext>
            </p:extLst>
          </p:nvPr>
        </p:nvGraphicFramePr>
        <p:xfrm>
          <a:off x="647700" y="1200150"/>
          <a:ext cx="4730750" cy="31927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165590536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对象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758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矩形 1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200" dirty="0">
              <a:latin typeface="Verdana" panose="020B0604030504040204" pitchFamily="34" charset="0"/>
              <a:ea typeface="等线" panose="02010600030101010101" pitchFamily="2" charset="-122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City Tier performance _ MAT _ value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32</a:t>
            </a:fld>
            <a:endParaRPr lang="en-US" dirty="0">
              <a:ea typeface="+mn-ea"/>
            </a:endParaRPr>
          </a:p>
        </p:txBody>
      </p:sp>
      <p:graphicFrame>
        <p:nvGraphicFramePr>
          <p:cNvPr id="10" name="对象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18784336"/>
              </p:ext>
            </p:extLst>
          </p:nvPr>
        </p:nvGraphicFramePr>
        <p:xfrm>
          <a:off x="304800" y="1352550"/>
          <a:ext cx="8432800" cy="1866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759" name="工作表" r:id="rId7" imgW="8991720" imgH="1990858" progId="Excel.Sheet.12">
                  <p:embed/>
                </p:oleObj>
              </mc:Choice>
              <mc:Fallback>
                <p:oleObj name="工作表" r:id="rId7" imgW="8991720" imgH="1990858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04800" y="1352550"/>
                        <a:ext cx="8432800" cy="1866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8068242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对象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780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矩形 1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200" dirty="0">
              <a:latin typeface="Verdana" panose="020B0604030504040204" pitchFamily="34" charset="0"/>
              <a:ea typeface="等线" panose="02010600030101010101" pitchFamily="2" charset="-122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City Tier performance _ MAT _ volume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33</a:t>
            </a:fld>
            <a:endParaRPr lang="en-US" dirty="0">
              <a:ea typeface="+mn-ea"/>
            </a:endParaRPr>
          </a:p>
        </p:txBody>
      </p:sp>
      <p:graphicFrame>
        <p:nvGraphicFramePr>
          <p:cNvPr id="10" name="对象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16227255"/>
              </p:ext>
            </p:extLst>
          </p:nvPr>
        </p:nvGraphicFramePr>
        <p:xfrm>
          <a:off x="304800" y="1352550"/>
          <a:ext cx="8432800" cy="1866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781" name="工作表" r:id="rId7" imgW="8991720" imgH="1990858" progId="Excel.Sheet.12">
                  <p:embed/>
                </p:oleObj>
              </mc:Choice>
              <mc:Fallback>
                <p:oleObj name="工作表" r:id="rId7" imgW="8991720" imgH="1990858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04800" y="1352550"/>
                        <a:ext cx="8432800" cy="1866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5402517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2475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796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ctr"/>
            <a:endParaRPr lang="zh-CN" altLang="en-US" sz="700" dirty="0">
              <a:sym typeface="+mn-lt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47700" y="148829"/>
            <a:ext cx="8267700" cy="594121"/>
          </a:xfrm>
        </p:spPr>
        <p:txBody>
          <a:bodyPr>
            <a:noAutofit/>
          </a:bodyPr>
          <a:lstStyle/>
          <a:p>
            <a:r>
              <a:rPr lang="en-US" altLang="zh-CN" sz="2000" dirty="0"/>
              <a:t>Competitors performance by tier _ MAT _ value</a:t>
            </a:r>
            <a:endParaRPr lang="zh-CN" altLang="en-US" sz="20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34</a:t>
            </a:fld>
            <a:endParaRPr lang="en-US" dirty="0">
              <a:ea typeface="+mn-ea"/>
            </a:endParaRPr>
          </a:p>
        </p:txBody>
      </p:sp>
      <p:graphicFrame>
        <p:nvGraphicFramePr>
          <p:cNvPr id="81" name="图表 80"/>
          <p:cNvGraphicFramePr/>
          <p:nvPr>
            <p:extLst>
              <p:ext uri="{D42A27DB-BD31-4B8C-83A1-F6EECF244321}">
                <p14:modId xmlns:p14="http://schemas.microsoft.com/office/powerpoint/2010/main" val="2536628330"/>
              </p:ext>
            </p:extLst>
          </p:nvPr>
        </p:nvGraphicFramePr>
        <p:xfrm>
          <a:off x="1790700" y="1047750"/>
          <a:ext cx="5715000" cy="35051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49327765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2475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867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ctr"/>
            <a:endParaRPr lang="zh-CN" altLang="en-US" sz="700" dirty="0">
              <a:sym typeface="+mn-lt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47700" y="133350"/>
            <a:ext cx="8343900" cy="594121"/>
          </a:xfrm>
        </p:spPr>
        <p:txBody>
          <a:bodyPr>
            <a:noAutofit/>
          </a:bodyPr>
          <a:lstStyle/>
          <a:p>
            <a:r>
              <a:rPr lang="en-US" altLang="zh-CN" sz="2000" dirty="0"/>
              <a:t>Competitors performance by tier _ MAT _ volume</a:t>
            </a:r>
            <a:endParaRPr lang="zh-CN" altLang="en-US" sz="20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35</a:t>
            </a:fld>
            <a:endParaRPr lang="en-US" dirty="0">
              <a:ea typeface="+mn-ea"/>
            </a:endParaRPr>
          </a:p>
        </p:txBody>
      </p:sp>
      <p:graphicFrame>
        <p:nvGraphicFramePr>
          <p:cNvPr id="81" name="图表 80"/>
          <p:cNvGraphicFramePr/>
          <p:nvPr>
            <p:extLst>
              <p:ext uri="{D42A27DB-BD31-4B8C-83A1-F6EECF244321}">
                <p14:modId xmlns:p14="http://schemas.microsoft.com/office/powerpoint/2010/main" val="2353034057"/>
              </p:ext>
            </p:extLst>
          </p:nvPr>
        </p:nvGraphicFramePr>
        <p:xfrm>
          <a:off x="1790700" y="1047750"/>
          <a:ext cx="5715000" cy="35051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00843557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对象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644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矩形 1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200" dirty="0">
              <a:latin typeface="Verdana" panose="020B0604030504040204" pitchFamily="34" charset="0"/>
              <a:ea typeface="等线" panose="02010600030101010101" pitchFamily="2" charset="-122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City performance _ MAT _ value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36</a:t>
            </a:fld>
            <a:endParaRPr lang="en-US" dirty="0">
              <a:ea typeface="+mn-ea"/>
            </a:endParaRPr>
          </a:p>
        </p:txBody>
      </p:sp>
      <p:graphicFrame>
        <p:nvGraphicFramePr>
          <p:cNvPr id="10" name="对象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86840929"/>
              </p:ext>
            </p:extLst>
          </p:nvPr>
        </p:nvGraphicFramePr>
        <p:xfrm>
          <a:off x="387066" y="952500"/>
          <a:ext cx="8432800" cy="1152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645" name="工作表" r:id="rId7" imgW="8991720" imgH="1228685" progId="Excel.Sheet.12">
                  <p:embed/>
                </p:oleObj>
              </mc:Choice>
              <mc:Fallback>
                <p:oleObj name="工作表" r:id="rId7" imgW="8991720" imgH="1228685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87066" y="952500"/>
                        <a:ext cx="8432800" cy="1152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对象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43353986"/>
              </p:ext>
            </p:extLst>
          </p:nvPr>
        </p:nvGraphicFramePr>
        <p:xfrm>
          <a:off x="399742" y="2419350"/>
          <a:ext cx="8432800" cy="1866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646" name="工作表" r:id="rId9" imgW="8991720" imgH="1990858" progId="Excel.Sheet.12">
                  <p:embed/>
                </p:oleObj>
              </mc:Choice>
              <mc:Fallback>
                <p:oleObj name="工作表" r:id="rId9" imgW="8991720" imgH="1990858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99742" y="2419350"/>
                        <a:ext cx="8432800" cy="1866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0046130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对象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648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矩形 1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200" dirty="0">
              <a:latin typeface="Verdana" panose="020B0604030504040204" pitchFamily="34" charset="0"/>
              <a:ea typeface="等线" panose="02010600030101010101" pitchFamily="2" charset="-122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City performance _ MAT _ value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37</a:t>
            </a:fld>
            <a:endParaRPr lang="en-US" dirty="0">
              <a:ea typeface="+mn-ea"/>
            </a:endParaRPr>
          </a:p>
        </p:txBody>
      </p:sp>
      <p:graphicFrame>
        <p:nvGraphicFramePr>
          <p:cNvPr id="8" name="对象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45980056"/>
              </p:ext>
            </p:extLst>
          </p:nvPr>
        </p:nvGraphicFramePr>
        <p:xfrm>
          <a:off x="376238" y="852488"/>
          <a:ext cx="8432800" cy="37957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649" name="工作表" r:id="rId7" imgW="8991720" imgH="4048258" progId="Excel.Sheet.12">
                  <p:embed/>
                </p:oleObj>
              </mc:Choice>
              <mc:Fallback>
                <p:oleObj name="工作表" r:id="rId7" imgW="8991720" imgH="4048258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76238" y="852488"/>
                        <a:ext cx="8432800" cy="37957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7541276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对象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87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矩形 1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200" dirty="0">
              <a:latin typeface="Verdana" panose="020B0604030504040204" pitchFamily="34" charset="0"/>
              <a:ea typeface="等线" panose="02010600030101010101" pitchFamily="2" charset="-122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City performance _ MAT _ volume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38</a:t>
            </a:fld>
            <a:endParaRPr lang="en-US" dirty="0">
              <a:ea typeface="+mn-ea"/>
            </a:endParaRPr>
          </a:p>
        </p:txBody>
      </p:sp>
      <p:graphicFrame>
        <p:nvGraphicFramePr>
          <p:cNvPr id="10" name="对象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81788366"/>
              </p:ext>
            </p:extLst>
          </p:nvPr>
        </p:nvGraphicFramePr>
        <p:xfrm>
          <a:off x="387066" y="952500"/>
          <a:ext cx="8432800" cy="1152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88" name="工作表" r:id="rId7" imgW="8991720" imgH="1228685" progId="Excel.Sheet.12">
                  <p:embed/>
                </p:oleObj>
              </mc:Choice>
              <mc:Fallback>
                <p:oleObj name="工作表" r:id="rId7" imgW="8991720" imgH="1228685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87066" y="952500"/>
                        <a:ext cx="8432800" cy="1152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对象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80999383"/>
              </p:ext>
            </p:extLst>
          </p:nvPr>
        </p:nvGraphicFramePr>
        <p:xfrm>
          <a:off x="399742" y="2419350"/>
          <a:ext cx="8432800" cy="1866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89" name="工作表" r:id="rId9" imgW="8991720" imgH="1990858" progId="Excel.Sheet.12">
                  <p:embed/>
                </p:oleObj>
              </mc:Choice>
              <mc:Fallback>
                <p:oleObj name="工作表" r:id="rId9" imgW="8991720" imgH="1990858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99742" y="2419350"/>
                        <a:ext cx="8432800" cy="1866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5293342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对象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696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矩形 1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200" dirty="0">
              <a:latin typeface="Verdana" panose="020B0604030504040204" pitchFamily="34" charset="0"/>
              <a:ea typeface="等线" panose="02010600030101010101" pitchFamily="2" charset="-122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City performance _ MAT _ volume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39</a:t>
            </a:fld>
            <a:endParaRPr lang="en-US" dirty="0">
              <a:ea typeface="+mn-ea"/>
            </a:endParaRPr>
          </a:p>
        </p:txBody>
      </p:sp>
      <p:graphicFrame>
        <p:nvGraphicFramePr>
          <p:cNvPr id="8" name="对象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6330038"/>
              </p:ext>
            </p:extLst>
          </p:nvPr>
        </p:nvGraphicFramePr>
        <p:xfrm>
          <a:off x="376238" y="852488"/>
          <a:ext cx="8432800" cy="37957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697" name="工作表" r:id="rId7" imgW="8991720" imgH="4048258" progId="Excel.Sheet.12">
                  <p:embed/>
                </p:oleObj>
              </mc:Choice>
              <mc:Fallback>
                <p:oleObj name="工作表" r:id="rId7" imgW="8991720" imgH="4048258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76238" y="852488"/>
                        <a:ext cx="8432800" cy="37957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595329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0877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987" name="think-cell 幻灯片" r:id="rId6" imgW="270" imgH="270" progId="TCLayout.ActiveDocument.1">
                  <p:embed/>
                </p:oleObj>
              </mc:Choice>
              <mc:Fallback>
                <p:oleObj name="think-cell 幻灯片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altLang="zh-CN" sz="2400" dirty="0">
              <a:latin typeface="Verdana" panose="020B0604030504040204" pitchFamily="34" charset="0"/>
              <a:ea typeface="等线" panose="02010600030101010101" pitchFamily="2" charset="-122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ln w="12700">
            <a:miter lim="400000"/>
          </a:ln>
        </p:spPr>
        <p:txBody>
          <a:bodyPr vert="horz" lIns="26789" tIns="26789" rIns="26789" bIns="26789" rtlCol="0" anchor="b">
            <a:normAutofit/>
          </a:bodyPr>
          <a:lstStyle/>
          <a:p>
            <a:r>
              <a:rPr lang="en-US" altLang="zh-CN" sz="1800" dirty="0"/>
              <a:t>Sub-Market Value Share &amp; Growth _ MAT</a:t>
            </a:r>
            <a:endParaRPr lang="zh-CN" altLang="en-US" sz="18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4</a:t>
            </a:fld>
            <a:endParaRPr lang="en-US" dirty="0">
              <a:ea typeface="+mn-ea"/>
            </a:endParaRPr>
          </a:p>
        </p:txBody>
      </p:sp>
      <p:graphicFrame>
        <p:nvGraphicFramePr>
          <p:cNvPr id="6" name="对象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92205528"/>
              </p:ext>
            </p:extLst>
          </p:nvPr>
        </p:nvGraphicFramePr>
        <p:xfrm>
          <a:off x="4217987" y="1352550"/>
          <a:ext cx="3859213" cy="25130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988" name="工作表" r:id="rId8" imgW="4114800" imgH="2676418" progId="Excel.Sheet.12">
                  <p:embed/>
                </p:oleObj>
              </mc:Choice>
              <mc:Fallback>
                <p:oleObj name="工作表" r:id="rId8" imgW="4114800" imgH="2676418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4217987" y="1352550"/>
                        <a:ext cx="3859213" cy="25130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图表 6">
            <a:extLst>
              <a:ext uri="{FF2B5EF4-FFF2-40B4-BE49-F238E27FC236}">
                <a16:creationId xmlns:a16="http://schemas.microsoft.com/office/drawing/2014/main" id="{3F25DE1B-2F56-4404-8EB4-F4801A0EF74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02851833"/>
              </p:ext>
            </p:extLst>
          </p:nvPr>
        </p:nvGraphicFramePr>
        <p:xfrm>
          <a:off x="647700" y="1200150"/>
          <a:ext cx="4730750" cy="31927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399146054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对象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891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矩形 1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200" dirty="0">
              <a:latin typeface="Verdana" panose="020B0604030504040204" pitchFamily="34" charset="0"/>
              <a:ea typeface="等线" panose="02010600030101010101" pitchFamily="2" charset="-122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47700" y="133350"/>
            <a:ext cx="8001000" cy="594121"/>
          </a:xfrm>
        </p:spPr>
        <p:txBody>
          <a:bodyPr>
            <a:noAutofit/>
          </a:bodyPr>
          <a:lstStyle/>
          <a:p>
            <a:r>
              <a:rPr lang="en-US" altLang="zh-CN" sz="2000" dirty="0"/>
              <a:t>Competitors performance by city _ MAT _ value</a:t>
            </a:r>
            <a:endParaRPr lang="zh-CN" altLang="en-US" sz="20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40</a:t>
            </a:fld>
            <a:endParaRPr lang="en-US" dirty="0">
              <a:ea typeface="+mn-ea"/>
            </a:endParaRPr>
          </a:p>
        </p:txBody>
      </p:sp>
      <p:graphicFrame>
        <p:nvGraphicFramePr>
          <p:cNvPr id="111" name="图表 110"/>
          <p:cNvGraphicFramePr/>
          <p:nvPr>
            <p:extLst>
              <p:ext uri="{D42A27DB-BD31-4B8C-83A1-F6EECF244321}">
                <p14:modId xmlns:p14="http://schemas.microsoft.com/office/powerpoint/2010/main" val="1000112490"/>
              </p:ext>
            </p:extLst>
          </p:nvPr>
        </p:nvGraphicFramePr>
        <p:xfrm>
          <a:off x="152400" y="1123950"/>
          <a:ext cx="8839200" cy="35051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文本框 22">
            <a:extLst>
              <a:ext uri="{FF2B5EF4-FFF2-40B4-BE49-F238E27FC236}">
                <a16:creationId xmlns:a16="http://schemas.microsoft.com/office/drawing/2014/main" id="{E2110750-D53E-4A36-8247-B15C9AA93045}"/>
              </a:ext>
            </a:extLst>
          </p:cNvPr>
          <p:cNvSpPr txBox="1"/>
          <p:nvPr/>
        </p:nvSpPr>
        <p:spPr>
          <a:xfrm>
            <a:off x="1219200" y="872787"/>
            <a:ext cx="27924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100" b="1" u="sng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ier 1</a:t>
            </a:r>
            <a:endParaRPr lang="zh-CN" altLang="en-US" sz="1100" b="1" u="sng" dirty="0">
              <a:solidFill>
                <a:schemeClr val="accent1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文本框 22">
            <a:extLst>
              <a:ext uri="{FF2B5EF4-FFF2-40B4-BE49-F238E27FC236}">
                <a16:creationId xmlns:a16="http://schemas.microsoft.com/office/drawing/2014/main" id="{E2110750-D53E-4A36-8247-B15C9AA93045}"/>
              </a:ext>
            </a:extLst>
          </p:cNvPr>
          <p:cNvSpPr txBox="1"/>
          <p:nvPr/>
        </p:nvSpPr>
        <p:spPr>
          <a:xfrm>
            <a:off x="4953000" y="872787"/>
            <a:ext cx="27924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100" b="1" u="sng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ier 2</a:t>
            </a:r>
            <a:endParaRPr lang="zh-CN" altLang="en-US" sz="1100" b="1" u="sng" dirty="0">
              <a:solidFill>
                <a:schemeClr val="accent1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159294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对象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914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矩形 1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200" dirty="0">
              <a:latin typeface="Verdana" panose="020B0604030504040204" pitchFamily="34" charset="0"/>
              <a:ea typeface="等线" panose="02010600030101010101" pitchFamily="2" charset="-122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47700" y="133350"/>
            <a:ext cx="8001000" cy="594121"/>
          </a:xfrm>
        </p:spPr>
        <p:txBody>
          <a:bodyPr>
            <a:noAutofit/>
          </a:bodyPr>
          <a:lstStyle/>
          <a:p>
            <a:r>
              <a:rPr lang="en-US" altLang="zh-CN" sz="2000" dirty="0"/>
              <a:t>Competitors performance by city _ MAT _ volume</a:t>
            </a:r>
            <a:endParaRPr lang="zh-CN" altLang="en-US" sz="20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41</a:t>
            </a:fld>
            <a:endParaRPr lang="en-US" dirty="0">
              <a:ea typeface="+mn-ea"/>
            </a:endParaRPr>
          </a:p>
        </p:txBody>
      </p:sp>
      <p:graphicFrame>
        <p:nvGraphicFramePr>
          <p:cNvPr id="111" name="图表 110"/>
          <p:cNvGraphicFramePr/>
          <p:nvPr>
            <p:extLst>
              <p:ext uri="{D42A27DB-BD31-4B8C-83A1-F6EECF244321}">
                <p14:modId xmlns:p14="http://schemas.microsoft.com/office/powerpoint/2010/main" val="1000112490"/>
              </p:ext>
            </p:extLst>
          </p:nvPr>
        </p:nvGraphicFramePr>
        <p:xfrm>
          <a:off x="152400" y="1123950"/>
          <a:ext cx="8839200" cy="35051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文本框 22">
            <a:extLst>
              <a:ext uri="{FF2B5EF4-FFF2-40B4-BE49-F238E27FC236}">
                <a16:creationId xmlns:a16="http://schemas.microsoft.com/office/drawing/2014/main" id="{E2110750-D53E-4A36-8247-B15C9AA93045}"/>
              </a:ext>
            </a:extLst>
          </p:cNvPr>
          <p:cNvSpPr txBox="1"/>
          <p:nvPr/>
        </p:nvSpPr>
        <p:spPr>
          <a:xfrm>
            <a:off x="1219200" y="872787"/>
            <a:ext cx="27924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100" b="1" u="sng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ier 1</a:t>
            </a:r>
            <a:endParaRPr lang="zh-CN" altLang="en-US" sz="1100" b="1" u="sng" dirty="0">
              <a:solidFill>
                <a:schemeClr val="accent1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文本框 22">
            <a:extLst>
              <a:ext uri="{FF2B5EF4-FFF2-40B4-BE49-F238E27FC236}">
                <a16:creationId xmlns:a16="http://schemas.microsoft.com/office/drawing/2014/main" id="{E2110750-D53E-4A36-8247-B15C9AA93045}"/>
              </a:ext>
            </a:extLst>
          </p:cNvPr>
          <p:cNvSpPr txBox="1"/>
          <p:nvPr/>
        </p:nvSpPr>
        <p:spPr>
          <a:xfrm>
            <a:off x="4953000" y="872787"/>
            <a:ext cx="27924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100" b="1" u="sng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ier 2</a:t>
            </a:r>
            <a:endParaRPr lang="zh-CN" altLang="en-US" sz="1100" b="1" u="sng" dirty="0">
              <a:solidFill>
                <a:schemeClr val="accent1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595065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对象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938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矩形 1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200" dirty="0">
              <a:latin typeface="Verdana" panose="020B0604030504040204" pitchFamily="34" charset="0"/>
              <a:ea typeface="等线" panose="02010600030101010101" pitchFamily="2" charset="-122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47700" y="133350"/>
            <a:ext cx="8001000" cy="594121"/>
          </a:xfrm>
        </p:spPr>
        <p:txBody>
          <a:bodyPr>
            <a:noAutofit/>
          </a:bodyPr>
          <a:lstStyle/>
          <a:p>
            <a:r>
              <a:rPr lang="en-US" altLang="zh-CN" sz="2000" dirty="0"/>
              <a:t>Competitors performance by city _ MAT _ value</a:t>
            </a:r>
            <a:endParaRPr lang="zh-CN" altLang="en-US" sz="20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42</a:t>
            </a:fld>
            <a:endParaRPr lang="en-US" dirty="0">
              <a:ea typeface="+mn-ea"/>
            </a:endParaRPr>
          </a:p>
        </p:txBody>
      </p:sp>
      <p:graphicFrame>
        <p:nvGraphicFramePr>
          <p:cNvPr id="111" name="图表 110"/>
          <p:cNvGraphicFramePr/>
          <p:nvPr>
            <p:extLst>
              <p:ext uri="{D42A27DB-BD31-4B8C-83A1-F6EECF244321}">
                <p14:modId xmlns:p14="http://schemas.microsoft.com/office/powerpoint/2010/main" val="459940469"/>
              </p:ext>
            </p:extLst>
          </p:nvPr>
        </p:nvGraphicFramePr>
        <p:xfrm>
          <a:off x="152400" y="1081491"/>
          <a:ext cx="8839200" cy="35051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文本框 22">
            <a:extLst>
              <a:ext uri="{FF2B5EF4-FFF2-40B4-BE49-F238E27FC236}">
                <a16:creationId xmlns:a16="http://schemas.microsoft.com/office/drawing/2014/main" id="{E2110750-D53E-4A36-8247-B15C9AA93045}"/>
              </a:ext>
            </a:extLst>
          </p:cNvPr>
          <p:cNvSpPr txBox="1"/>
          <p:nvPr/>
        </p:nvSpPr>
        <p:spPr>
          <a:xfrm>
            <a:off x="3581400" y="845076"/>
            <a:ext cx="27924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100" b="1" u="sng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ier 3</a:t>
            </a:r>
            <a:endParaRPr lang="zh-CN" altLang="en-US" sz="1100" b="1" u="sng" dirty="0">
              <a:solidFill>
                <a:schemeClr val="accent1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770542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对象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962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矩形 1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200" dirty="0">
              <a:latin typeface="Verdana" panose="020B0604030504040204" pitchFamily="34" charset="0"/>
              <a:ea typeface="等线" panose="02010600030101010101" pitchFamily="2" charset="-122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47700" y="133350"/>
            <a:ext cx="8001000" cy="594121"/>
          </a:xfrm>
        </p:spPr>
        <p:txBody>
          <a:bodyPr>
            <a:noAutofit/>
          </a:bodyPr>
          <a:lstStyle/>
          <a:p>
            <a:r>
              <a:rPr lang="en-US" altLang="zh-CN" sz="2000" dirty="0"/>
              <a:t>Competitors performance by city _ MAT _ volume</a:t>
            </a:r>
            <a:endParaRPr lang="zh-CN" altLang="en-US" sz="20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43</a:t>
            </a:fld>
            <a:endParaRPr lang="en-US" dirty="0">
              <a:ea typeface="+mn-ea"/>
            </a:endParaRPr>
          </a:p>
        </p:txBody>
      </p:sp>
      <p:graphicFrame>
        <p:nvGraphicFramePr>
          <p:cNvPr id="111" name="图表 110"/>
          <p:cNvGraphicFramePr/>
          <p:nvPr>
            <p:extLst>
              <p:ext uri="{D42A27DB-BD31-4B8C-83A1-F6EECF244321}">
                <p14:modId xmlns:p14="http://schemas.microsoft.com/office/powerpoint/2010/main" val="459940469"/>
              </p:ext>
            </p:extLst>
          </p:nvPr>
        </p:nvGraphicFramePr>
        <p:xfrm>
          <a:off x="152400" y="1081491"/>
          <a:ext cx="8839200" cy="35051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文本框 22">
            <a:extLst>
              <a:ext uri="{FF2B5EF4-FFF2-40B4-BE49-F238E27FC236}">
                <a16:creationId xmlns:a16="http://schemas.microsoft.com/office/drawing/2014/main" id="{E2110750-D53E-4A36-8247-B15C9AA93045}"/>
              </a:ext>
            </a:extLst>
          </p:cNvPr>
          <p:cNvSpPr txBox="1"/>
          <p:nvPr/>
        </p:nvSpPr>
        <p:spPr>
          <a:xfrm>
            <a:off x="3581400" y="845076"/>
            <a:ext cx="27924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100" b="1" u="sng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ier 3</a:t>
            </a:r>
            <a:endParaRPr lang="zh-CN" altLang="en-US" sz="1100" b="1" u="sng" dirty="0">
              <a:solidFill>
                <a:schemeClr val="accent1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691898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3090076"/>
              </p:ext>
            </p:extLst>
          </p:nvPr>
        </p:nvGraphicFramePr>
        <p:xfrm>
          <a:off x="1144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628" name="think-cell 幻灯片" r:id="rId4" imgW="270" imgH="270" progId="TCLayout.ActiveDocument.1">
                  <p:embed/>
                </p:oleObj>
              </mc:Choice>
              <mc:Fallback>
                <p:oleObj name="think-cell 幻灯片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52411436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0877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010" name="think-cell 幻灯片" r:id="rId6" imgW="270" imgH="270" progId="TCLayout.ActiveDocument.1">
                  <p:embed/>
                </p:oleObj>
              </mc:Choice>
              <mc:Fallback>
                <p:oleObj name="think-cell 幻灯片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altLang="zh-CN" sz="2400" dirty="0">
              <a:latin typeface="Verdana" panose="020B0604030504040204" pitchFamily="34" charset="0"/>
              <a:ea typeface="等线" panose="02010600030101010101" pitchFamily="2" charset="-122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ln w="12700">
            <a:miter lim="400000"/>
          </a:ln>
        </p:spPr>
        <p:txBody>
          <a:bodyPr vert="horz" lIns="26789" tIns="26789" rIns="26789" bIns="26789" rtlCol="0" anchor="b">
            <a:normAutofit/>
          </a:bodyPr>
          <a:lstStyle/>
          <a:p>
            <a:r>
              <a:rPr lang="en-US" altLang="zh-CN" sz="1800" dirty="0"/>
              <a:t>Sub-Market Volume Share &amp; Growth _ MAT</a:t>
            </a:r>
            <a:endParaRPr lang="zh-CN" altLang="en-US" sz="18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5</a:t>
            </a:fld>
            <a:endParaRPr lang="en-US" dirty="0">
              <a:ea typeface="+mn-ea"/>
            </a:endParaRPr>
          </a:p>
        </p:txBody>
      </p:sp>
      <p:graphicFrame>
        <p:nvGraphicFramePr>
          <p:cNvPr id="6" name="对象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92205528"/>
              </p:ext>
            </p:extLst>
          </p:nvPr>
        </p:nvGraphicFramePr>
        <p:xfrm>
          <a:off x="4217987" y="1352550"/>
          <a:ext cx="3859213" cy="25130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011" name="工作表" r:id="rId8" imgW="4114800" imgH="2676418" progId="Excel.Sheet.12">
                  <p:embed/>
                </p:oleObj>
              </mc:Choice>
              <mc:Fallback>
                <p:oleObj name="工作表" r:id="rId8" imgW="4114800" imgH="2676418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4217987" y="1352550"/>
                        <a:ext cx="3859213" cy="25130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图表 6">
            <a:extLst>
              <a:ext uri="{FF2B5EF4-FFF2-40B4-BE49-F238E27FC236}">
                <a16:creationId xmlns:a16="http://schemas.microsoft.com/office/drawing/2014/main" id="{3F25DE1B-2F56-4404-8EB4-F4801A0EF74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02851833"/>
              </p:ext>
            </p:extLst>
          </p:nvPr>
        </p:nvGraphicFramePr>
        <p:xfrm>
          <a:off x="647700" y="1200150"/>
          <a:ext cx="4730750" cy="31927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28715787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1034" name="think-cell 幻灯片" r:id="rId6" imgW="270" imgH="270" progId="TCLayout.ActiveDocument.1">
                  <p:embed/>
                </p:oleObj>
              </mc:Choice>
              <mc:Fallback>
                <p:oleObj name="think-cell 幻灯片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altLang="zh-CN" sz="2400" dirty="0">
              <a:latin typeface="Verdana" panose="020B0604030504040204" pitchFamily="34" charset="0"/>
              <a:ea typeface="等线" panose="02010600030101010101" pitchFamily="2" charset="-122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ln w="12700">
            <a:miter lim="400000"/>
          </a:ln>
        </p:spPr>
        <p:txBody>
          <a:bodyPr vert="horz" lIns="26789" tIns="26789" rIns="26789" bIns="26789" rtlCol="0" anchor="b">
            <a:normAutofit/>
          </a:bodyPr>
          <a:lstStyle/>
          <a:p>
            <a:r>
              <a:rPr lang="en-US" altLang="zh-CN" sz="1800" dirty="0"/>
              <a:t>Sub-Market Value Share &amp; Growth _ YTD</a:t>
            </a:r>
            <a:endParaRPr lang="zh-CN" altLang="en-US" sz="18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6</a:t>
            </a:fld>
            <a:endParaRPr lang="en-US" dirty="0">
              <a:ea typeface="+mn-ea"/>
            </a:endParaRPr>
          </a:p>
        </p:txBody>
      </p:sp>
      <p:graphicFrame>
        <p:nvGraphicFramePr>
          <p:cNvPr id="6" name="对象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50311551"/>
              </p:ext>
            </p:extLst>
          </p:nvPr>
        </p:nvGraphicFramePr>
        <p:xfrm>
          <a:off x="4217987" y="1352550"/>
          <a:ext cx="3859213" cy="25130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1035" name="工作表" r:id="rId8" imgW="4114800" imgH="2676418" progId="Excel.Sheet.12">
                  <p:embed/>
                </p:oleObj>
              </mc:Choice>
              <mc:Fallback>
                <p:oleObj name="工作表" r:id="rId8" imgW="4114800" imgH="2676418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4217987" y="1352550"/>
                        <a:ext cx="3859213" cy="25130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图表 6">
            <a:extLst>
              <a:ext uri="{FF2B5EF4-FFF2-40B4-BE49-F238E27FC236}">
                <a16:creationId xmlns:a16="http://schemas.microsoft.com/office/drawing/2014/main" id="{3F25DE1B-2F56-4404-8EB4-F4801A0EF74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78880547"/>
              </p:ext>
            </p:extLst>
          </p:nvPr>
        </p:nvGraphicFramePr>
        <p:xfrm>
          <a:off x="647700" y="1200150"/>
          <a:ext cx="4730750" cy="31927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2427842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2058" name="think-cell 幻灯片" r:id="rId6" imgW="270" imgH="270" progId="TCLayout.ActiveDocument.1">
                  <p:embed/>
                </p:oleObj>
              </mc:Choice>
              <mc:Fallback>
                <p:oleObj name="think-cell 幻灯片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altLang="zh-CN" sz="2400" dirty="0">
              <a:latin typeface="Verdana" panose="020B0604030504040204" pitchFamily="34" charset="0"/>
              <a:ea typeface="等线" panose="02010600030101010101" pitchFamily="2" charset="-122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ln w="12700">
            <a:miter lim="400000"/>
          </a:ln>
        </p:spPr>
        <p:txBody>
          <a:bodyPr vert="horz" lIns="26789" tIns="26789" rIns="26789" bIns="26789" rtlCol="0" anchor="b">
            <a:normAutofit/>
          </a:bodyPr>
          <a:lstStyle/>
          <a:p>
            <a:r>
              <a:rPr lang="en-US" altLang="zh-CN" sz="1800" dirty="0"/>
              <a:t>Sub-Market Volume Share &amp; Growth _ YTD</a:t>
            </a:r>
            <a:endParaRPr lang="zh-CN" altLang="en-US" sz="18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7</a:t>
            </a:fld>
            <a:endParaRPr lang="en-US" dirty="0">
              <a:ea typeface="+mn-ea"/>
            </a:endParaRPr>
          </a:p>
        </p:txBody>
      </p:sp>
      <p:graphicFrame>
        <p:nvGraphicFramePr>
          <p:cNvPr id="6" name="对象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60623870"/>
              </p:ext>
            </p:extLst>
          </p:nvPr>
        </p:nvGraphicFramePr>
        <p:xfrm>
          <a:off x="4217987" y="1352550"/>
          <a:ext cx="3859213" cy="25130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2059" name="工作表" r:id="rId8" imgW="4114800" imgH="2676418" progId="Excel.Sheet.12">
                  <p:embed/>
                </p:oleObj>
              </mc:Choice>
              <mc:Fallback>
                <p:oleObj name="工作表" r:id="rId8" imgW="4114800" imgH="2676418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4217987" y="1352550"/>
                        <a:ext cx="3859213" cy="25130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图表 6">
            <a:extLst>
              <a:ext uri="{FF2B5EF4-FFF2-40B4-BE49-F238E27FC236}">
                <a16:creationId xmlns:a16="http://schemas.microsoft.com/office/drawing/2014/main" id="{3F25DE1B-2F56-4404-8EB4-F4801A0EF74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29291243"/>
              </p:ext>
            </p:extLst>
          </p:nvPr>
        </p:nvGraphicFramePr>
        <p:xfrm>
          <a:off x="647700" y="1200150"/>
          <a:ext cx="4730750" cy="31927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8273122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" name="对象 19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6190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3178" name="think-cell 幻灯片" r:id="rId6" imgW="270" imgH="270" progId="TCLayout.ActiveDocument.1">
                  <p:embed/>
                </p:oleObj>
              </mc:Choice>
              <mc:Fallback>
                <p:oleObj name="think-cell 幻灯片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1" name="矩形 19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000" dirty="0">
              <a:latin typeface="Verdana" panose="020B0604030504040204" pitchFamily="34" charset="0"/>
              <a:ea typeface="等线" panose="02010600030101010101" pitchFamily="2" charset="-122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47700" y="114309"/>
            <a:ext cx="4457700" cy="594121"/>
          </a:xfrm>
        </p:spPr>
        <p:txBody>
          <a:bodyPr>
            <a:normAutofit/>
          </a:bodyPr>
          <a:lstStyle/>
          <a:p>
            <a:r>
              <a:rPr lang="en-US" altLang="zh-CN" sz="2000" dirty="0"/>
              <a:t>Molecule performance _ Value</a:t>
            </a:r>
            <a:endParaRPr lang="zh-CN" altLang="en-US" sz="20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8</a:t>
            </a:fld>
            <a:endParaRPr lang="en-US" dirty="0">
              <a:ea typeface="+mn-ea"/>
            </a:endParaRPr>
          </a:p>
        </p:txBody>
      </p:sp>
      <p:graphicFrame>
        <p:nvGraphicFramePr>
          <p:cNvPr id="4" name="对象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37338790"/>
              </p:ext>
            </p:extLst>
          </p:nvPr>
        </p:nvGraphicFramePr>
        <p:xfrm>
          <a:off x="304800" y="1123950"/>
          <a:ext cx="8618538" cy="30083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3179" name="工作表" r:id="rId8" imgW="7095960" imgH="2476433" progId="Excel.Sheet.12">
                  <p:embed/>
                </p:oleObj>
              </mc:Choice>
              <mc:Fallback>
                <p:oleObj name="工作表" r:id="rId8" imgW="7095960" imgH="2476433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304800" y="1123950"/>
                        <a:ext cx="8618538" cy="30083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155471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" name="对象 19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6190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98" name="think-cell 幻灯片" r:id="rId6" imgW="270" imgH="270" progId="TCLayout.ActiveDocument.1">
                  <p:embed/>
                </p:oleObj>
              </mc:Choice>
              <mc:Fallback>
                <p:oleObj name="think-cell 幻灯片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1" name="矩形 19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000" dirty="0">
              <a:latin typeface="Verdana" panose="020B0604030504040204" pitchFamily="34" charset="0"/>
              <a:ea typeface="等线" panose="02010600030101010101" pitchFamily="2" charset="-122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47700" y="114309"/>
            <a:ext cx="4457700" cy="594121"/>
          </a:xfrm>
        </p:spPr>
        <p:txBody>
          <a:bodyPr>
            <a:normAutofit/>
          </a:bodyPr>
          <a:lstStyle/>
          <a:p>
            <a:r>
              <a:rPr lang="en-US" altLang="zh-CN" sz="2000" dirty="0"/>
              <a:t>Molecule performance _ Volume</a:t>
            </a:r>
            <a:endParaRPr lang="zh-CN" altLang="en-US" sz="20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9</a:t>
            </a:fld>
            <a:endParaRPr lang="en-US" dirty="0">
              <a:ea typeface="+mn-ea"/>
            </a:endParaRPr>
          </a:p>
        </p:txBody>
      </p:sp>
      <p:graphicFrame>
        <p:nvGraphicFramePr>
          <p:cNvPr id="4" name="对象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68017218"/>
              </p:ext>
            </p:extLst>
          </p:nvPr>
        </p:nvGraphicFramePr>
        <p:xfrm>
          <a:off x="304800" y="1123950"/>
          <a:ext cx="8618538" cy="30083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99" name="工作表" r:id="rId8" imgW="7095960" imgH="2476433" progId="Excel.Sheet.12">
                  <p:embed/>
                </p:oleObj>
              </mc:Choice>
              <mc:Fallback>
                <p:oleObj name="工作表" r:id="rId8" imgW="7095960" imgH="2476433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304800" y="1123950"/>
                        <a:ext cx="8618538" cy="30083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708775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3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#m/%#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4&quot;&gt;&lt;elem m_fUsage=&quot;2.50022790000000050270E+00&quot;&gt;&lt;m_msothmcolidx val=&quot;0&quot;/&gt;&lt;m_rgb r=&quot;F8&quot; g=&quot;61&quot; b=&quot;05&quot;/&gt;&lt;m_nBrightness endver=&quot;26206&quot; val=&quot;0&quot;/&gt;&lt;/elem&gt;&lt;elem m_fUsage=&quot;1.53899999999999992362E+00&quot;&gt;&lt;m_msothmcolidx val=&quot;0&quot;/&gt;&lt;m_rgb r=&quot;97&quot; g=&quot;DB&quot; b=&quot;CA&quot;/&gt;&lt;m_nBrightness endver=&quot;26206&quot; val=&quot;0&quot;/&gt;&lt;/elem&gt;&lt;elem m_fUsage=&quot;1.00000000000000000000E+00&quot;&gt;&lt;m_msothmcolidx val=&quot;0&quot;/&gt;&lt;m_rgb r=&quot;F7&quot; g=&quot;CC&quot; b=&quot;8C&quot;/&gt;&lt;m_nBrightness endver=&quot;26206&quot; val=&quot;0&quot;/&gt;&lt;/elem&gt;&lt;elem m_fUsage=&quot;6.56100000000000127542E-01&quot;&gt;&lt;m_msothmcolidx val=&quot;0&quot;/&gt;&lt;m_rgb r=&quot;DF&quot; g=&quot;8B&quot; b=&quot;53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sjfVHYQXuMMv4NWDINS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sjfVHYQXuMMv4NWDINS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88wdKJl4uFm1Roaxqby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88wdKJl4uFm1Roaxqby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88wdKJl4uFm1Roaxqby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88wdKJl4uFm1Roaxqby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YCfl1.SulwGux6T0_As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YCfl1.SulwGux6T0_As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9Hz.HOUeHZzd.r0sSOA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9Hz.HOUeHZzd.r0sSOA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9Hz.HOUeHZzd.r0sSOA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9Hz.HOUeHZzd.r0sSOA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lpIW4owNI9vyy9vpxof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YCfl1.SulwGux6T0_As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YCfl1.SulwGux6T0_As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9Hz.HOUeHZzd.r0sSOA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9Hz.HOUeHZzd.r0sSOA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9Hz.HOUeHZzd.r0sSOA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9Hz.HOUeHZzd.r0sSOA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tw5KxDzz_cGAN578S6h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tw5KxDzz_cGAN578S6h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tw5KxDzz_cGAN578S6h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tw5KxDzz_cGAN578S6h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tw5KxDzz_cGAN578S6h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tw5KxDzz_cGAN578S6h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tw5KxDzz_cGAN578S6h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tw5KxDzz_cGAN578S6h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cIVZTKX9pC1jdReq0je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XJ.1KlYO5G0YRW1pOk.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XJ.1KlYO5G0YRW1pOk.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tw5KxDzz_cGAN578S6h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tw5KxDzz_cGAN578S6h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zz2PQmx2sp4Q_zx2f9P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zz2PQmx2sp4Q_zx2f9P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tw5KxDzz_cGAN578S6h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5WVefnkr5O6ieFBxKUN3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tw5KxDzz_cGAN578S6h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tw5KxDzz_cGAN578S6h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tw5KxDzz_cGAN578S6h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tw5KxDzz_cGAN578S6h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tw5KxDzz_cGAN578S6h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tw5KxDzz_cGAN578S6h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tw5KxDzz_cGAN578S6h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自定义设计方案">
  <a:themeElements>
    <a:clrScheme name="黄橙色">
      <a:dk1>
        <a:sysClr val="windowText" lastClr="000000"/>
      </a:dk1>
      <a:lt1>
        <a:sysClr val="window" lastClr="FFFFFF"/>
      </a:lt1>
      <a:dk2>
        <a:srgbClr val="4E3B30"/>
      </a:dk2>
      <a:lt2>
        <a:srgbClr val="FBEEC9"/>
      </a:lt2>
      <a:accent1>
        <a:srgbClr val="F0A22E"/>
      </a:accent1>
      <a:accent2>
        <a:srgbClr val="A5644E"/>
      </a:accent2>
      <a:accent3>
        <a:srgbClr val="B58B80"/>
      </a:accent3>
      <a:accent4>
        <a:srgbClr val="C3986D"/>
      </a:accent4>
      <a:accent5>
        <a:srgbClr val="A19574"/>
      </a:accent5>
      <a:accent6>
        <a:srgbClr val="C17529"/>
      </a:accent6>
      <a:hlink>
        <a:srgbClr val="AD1F1F"/>
      </a:hlink>
      <a:folHlink>
        <a:srgbClr val="FFC42F"/>
      </a:folHlink>
    </a:clrScheme>
    <a:fontScheme name="自定义 18">
      <a:majorFont>
        <a:latin typeface="Verdana"/>
        <a:ea typeface="等线"/>
        <a:cs typeface="Helvetica Neue Medium"/>
      </a:majorFont>
      <a:minorFont>
        <a:latin typeface="Verdana"/>
        <a:ea typeface="等线"/>
        <a:cs typeface="Helvetica Neue Medium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ofile</Template>
  <TotalTime>29936</TotalTime>
  <Words>802</Words>
  <Application>Microsoft Office PowerPoint</Application>
  <PresentationFormat>全屏显示(16:9)</PresentationFormat>
  <Paragraphs>255</Paragraphs>
  <Slides>44</Slides>
  <Notes>23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44</vt:i4>
      </vt:variant>
    </vt:vector>
  </HeadingPairs>
  <TitlesOfParts>
    <vt:vector size="50" baseType="lpstr">
      <vt:lpstr>等线</vt:lpstr>
      <vt:lpstr>Arial</vt:lpstr>
      <vt:lpstr>Verdana</vt:lpstr>
      <vt:lpstr>自定义设计方案</vt:lpstr>
      <vt:lpstr>think-cell 幻灯片</vt:lpstr>
      <vt:lpstr>工作表</vt:lpstr>
      <vt:lpstr>MAX Data Analysis</vt:lpstr>
      <vt:lpstr>Market value size</vt:lpstr>
      <vt:lpstr>Market volume size</vt:lpstr>
      <vt:lpstr>Sub-Market Value Share &amp; Growth _ MAT</vt:lpstr>
      <vt:lpstr>Sub-Market Volume Share &amp; Growth _ MAT</vt:lpstr>
      <vt:lpstr>Sub-Market Value Share &amp; Growth _ YTD</vt:lpstr>
      <vt:lpstr>Sub-Market Volume Share &amp; Growth _ YTD</vt:lpstr>
      <vt:lpstr>Molecule performance _ Value</vt:lpstr>
      <vt:lpstr>Molecule performance _ Volume</vt:lpstr>
      <vt:lpstr>Molecule trend by MTH _ Value</vt:lpstr>
      <vt:lpstr>Molecule trend by MTH _ Volume</vt:lpstr>
      <vt:lpstr>Molecule trend by MTH _ Value Share</vt:lpstr>
      <vt:lpstr>Molecule trend by MTH _ Volume Share</vt:lpstr>
      <vt:lpstr>Product ranking</vt:lpstr>
      <vt:lpstr>Product performance _ Value</vt:lpstr>
      <vt:lpstr>Product performance _ Volume</vt:lpstr>
      <vt:lpstr>Product trend by MTH _ Value</vt:lpstr>
      <vt:lpstr>Product trend by MTH _ Volume</vt:lpstr>
      <vt:lpstr>Product trend by MTH _ Value Share</vt:lpstr>
      <vt:lpstr>Product trend by MTH _ Volume Share</vt:lpstr>
      <vt:lpstr>Region performance _ MAT _ value</vt:lpstr>
      <vt:lpstr>Region performance _ MAT _ volume</vt:lpstr>
      <vt:lpstr>Region performance _ MAT _ value</vt:lpstr>
      <vt:lpstr>Region performance _ MAT _ volume</vt:lpstr>
      <vt:lpstr>Province performance _ MAT _ value</vt:lpstr>
      <vt:lpstr>Province performance _ MAT _ volume</vt:lpstr>
      <vt:lpstr>Competitors performance by province _ MAT _ value</vt:lpstr>
      <vt:lpstr>Competitors performance by province _ MAT _ volume</vt:lpstr>
      <vt:lpstr>City tiers</vt:lpstr>
      <vt:lpstr>Market size by city tier _ MAT _ value</vt:lpstr>
      <vt:lpstr>Market size by city tier _ MAT _ volume</vt:lpstr>
      <vt:lpstr>City Tier performance _ MAT _ value</vt:lpstr>
      <vt:lpstr>City Tier performance _ MAT _ volume</vt:lpstr>
      <vt:lpstr>Competitors performance by tier _ MAT _ value</vt:lpstr>
      <vt:lpstr>Competitors performance by tier _ MAT _ volume</vt:lpstr>
      <vt:lpstr>City performance _ MAT _ value</vt:lpstr>
      <vt:lpstr>City performance _ MAT _ value</vt:lpstr>
      <vt:lpstr>City performance _ MAT _ volume</vt:lpstr>
      <vt:lpstr>City performance _ MAT _ volume</vt:lpstr>
      <vt:lpstr>Competitors performance by city _ MAT _ value</vt:lpstr>
      <vt:lpstr>Competitors performance by city _ MAT _ volume</vt:lpstr>
      <vt:lpstr>Competitors performance by city _ MAT _ value</vt:lpstr>
      <vt:lpstr>Competitors performance by city _ MAT _ volume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NFO Consulting</dc:title>
  <dc:creator>pb</dc:creator>
  <cp:lastModifiedBy>WWB</cp:lastModifiedBy>
  <cp:revision>2920</cp:revision>
  <dcterms:created xsi:type="dcterms:W3CDTF">2009-04-27T10:02:40Z</dcterms:created>
  <dcterms:modified xsi:type="dcterms:W3CDTF">2020-05-08T04:08:44Z</dcterms:modified>
</cp:coreProperties>
</file>